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heme/themeOverride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5" r:id="rId1"/>
  </p:sldMasterIdLst>
  <p:notesMasterIdLst>
    <p:notesMasterId r:id="rId9"/>
  </p:notesMasterIdLst>
  <p:handoutMasterIdLst>
    <p:handoutMasterId r:id="rId10"/>
  </p:handoutMasterIdLst>
  <p:sldIdLst>
    <p:sldId id="659" r:id="rId2"/>
    <p:sldId id="779" r:id="rId3"/>
    <p:sldId id="789" r:id="rId4"/>
    <p:sldId id="790" r:id="rId5"/>
    <p:sldId id="785" r:id="rId6"/>
    <p:sldId id="792" r:id="rId7"/>
    <p:sldId id="791" r:id="rId8"/>
  </p:sldIdLst>
  <p:sldSz cx="9144000" cy="5143500" type="screen16x9"/>
  <p:notesSz cx="7010400" cy="9296400"/>
  <p:custDataLst>
    <p:tags r:id="rId11"/>
  </p:custDataLst>
  <p:defaultTextStyle>
    <a:defPPr>
      <a:defRPr lang="en-US"/>
    </a:defPPr>
    <a:lvl1pPr marL="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6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1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6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81">
          <p15:clr>
            <a:srgbClr val="A4A3A4"/>
          </p15:clr>
        </p15:guide>
        <p15:guide id="2" orient="horz" pos="758">
          <p15:clr>
            <a:srgbClr val="A4A3A4"/>
          </p15:clr>
        </p15:guide>
        <p15:guide id="3" orient="horz" pos="1668">
          <p15:clr>
            <a:srgbClr val="A4A3A4"/>
          </p15:clr>
        </p15:guide>
        <p15:guide id="4" orient="horz" pos="107">
          <p15:clr>
            <a:srgbClr val="A4A3A4"/>
          </p15:clr>
        </p15:guide>
        <p15:guide id="5" orient="horz" pos="3108">
          <p15:clr>
            <a:srgbClr val="A4A3A4"/>
          </p15:clr>
        </p15:guide>
        <p15:guide id="6" orient="horz" pos="2483">
          <p15:clr>
            <a:srgbClr val="A4A3A4"/>
          </p15:clr>
        </p15:guide>
        <p15:guide id="7" orient="horz" pos="337">
          <p15:clr>
            <a:srgbClr val="A4A3A4"/>
          </p15:clr>
        </p15:guide>
        <p15:guide id="8" orient="horz" pos="1889">
          <p15:clr>
            <a:srgbClr val="A4A3A4"/>
          </p15:clr>
        </p15:guide>
        <p15:guide id="9" pos="298">
          <p15:clr>
            <a:srgbClr val="A4A3A4"/>
          </p15:clr>
        </p15:guide>
        <p15:guide id="10" pos="1897">
          <p15:clr>
            <a:srgbClr val="A4A3A4"/>
          </p15:clr>
        </p15:guide>
        <p15:guide id="11" pos="3312">
          <p15:clr>
            <a:srgbClr val="A4A3A4"/>
          </p15:clr>
        </p15:guide>
        <p15:guide id="12" pos="5495">
          <p15:clr>
            <a:srgbClr val="A4A3A4"/>
          </p15:clr>
        </p15:guide>
        <p15:guide id="13" pos="5383">
          <p15:clr>
            <a:srgbClr val="A4A3A4"/>
          </p15:clr>
        </p15:guide>
        <p15:guide id="14" pos="3648">
          <p15:clr>
            <a:srgbClr val="A4A3A4"/>
          </p15:clr>
        </p15:guide>
        <p15:guide id="15" orient="horz" pos="708">
          <p15:clr>
            <a:srgbClr val="A4A3A4"/>
          </p15:clr>
        </p15:guide>
        <p15:guide id="16" pos="290">
          <p15:clr>
            <a:srgbClr val="A4A3A4"/>
          </p15:clr>
        </p15:guide>
        <p15:guide id="17" pos="5482">
          <p15:clr>
            <a:srgbClr val="A4A3A4"/>
          </p15:clr>
        </p15:guide>
        <p15:guide id="18" orient="horz" pos="2951">
          <p15:clr>
            <a:srgbClr val="A4A3A4"/>
          </p15:clr>
        </p15:guide>
        <p15:guide id="19" orient="horz" pos="1684">
          <p15:clr>
            <a:srgbClr val="A4A3A4"/>
          </p15:clr>
        </p15:guide>
        <p15:guide id="20" orient="horz" pos="138">
          <p15:clr>
            <a:srgbClr val="A4A3A4"/>
          </p15:clr>
        </p15:guide>
        <p15:guide id="21" pos="5519">
          <p15:clr>
            <a:srgbClr val="A4A3A4"/>
          </p15:clr>
        </p15:guide>
        <p15:guide id="22" pos="9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ad Rhodes" initials="BR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4EE"/>
    <a:srgbClr val="F0FBEB"/>
    <a:srgbClr val="FDFDFD"/>
    <a:srgbClr val="B5EA9A"/>
    <a:srgbClr val="E6E6E6"/>
    <a:srgbClr val="DFE5EF"/>
    <a:srgbClr val="FC9A2D"/>
    <a:srgbClr val="FFFFFF"/>
    <a:srgbClr val="FAAF8E"/>
    <a:srgbClr val="FCB6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41" autoAdjust="0"/>
    <p:restoredTop sz="96625" autoAdjust="0"/>
  </p:normalViewPr>
  <p:slideViewPr>
    <p:cSldViewPr snapToGrid="0" showGuides="1">
      <p:cViewPr varScale="1">
        <p:scale>
          <a:sx n="90" d="100"/>
          <a:sy n="90" d="100"/>
        </p:scale>
        <p:origin x="924" y="84"/>
      </p:cViewPr>
      <p:guideLst>
        <p:guide orient="horz" pos="1781"/>
        <p:guide orient="horz" pos="758"/>
        <p:guide orient="horz" pos="1668"/>
        <p:guide orient="horz" pos="107"/>
        <p:guide orient="horz" pos="3108"/>
        <p:guide orient="horz" pos="2483"/>
        <p:guide orient="horz" pos="337"/>
        <p:guide orient="horz" pos="1889"/>
        <p:guide pos="298"/>
        <p:guide pos="1897"/>
        <p:guide pos="3312"/>
        <p:guide pos="5495"/>
        <p:guide pos="5383"/>
        <p:guide pos="3648"/>
        <p:guide orient="horz" pos="708"/>
        <p:guide pos="290"/>
        <p:guide pos="5482"/>
        <p:guide orient="horz" pos="2951"/>
        <p:guide orient="horz" pos="1684"/>
        <p:guide orient="horz" pos="138"/>
        <p:guide pos="5519"/>
        <p:guide pos="9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 showGuides="1">
      <p:cViewPr varScale="1">
        <p:scale>
          <a:sx n="58" d="100"/>
          <a:sy n="58" d="100"/>
        </p:scale>
        <p:origin x="-1099" y="-67"/>
      </p:cViewPr>
      <p:guideLst>
        <p:guide orient="horz" pos="2880"/>
        <p:guide pos="2160"/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BA5AE8-F9CA-47A4-BF72-19E17A31FB14}" type="doc">
      <dgm:prSet loTypeId="urn:microsoft.com/office/officeart/2005/8/layout/funnel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B3EED99-EF7C-43FA-88C5-41AEAD57531A}">
      <dgm:prSet phldrT="[Text]"/>
      <dgm:spPr/>
      <dgm:t>
        <a:bodyPr/>
        <a:lstStyle/>
        <a:p>
          <a:r>
            <a:rPr lang="en-US" dirty="0"/>
            <a:t>Attrition Campaign</a:t>
          </a:r>
        </a:p>
      </dgm:t>
    </dgm:pt>
    <dgm:pt modelId="{267C2EC5-F50B-4CAF-8212-485D3626693B}" type="parTrans" cxnId="{0E92DACB-3C4F-4FB1-B581-B53A0FEAF239}">
      <dgm:prSet/>
      <dgm:spPr/>
      <dgm:t>
        <a:bodyPr/>
        <a:lstStyle/>
        <a:p>
          <a:endParaRPr lang="en-US"/>
        </a:p>
      </dgm:t>
    </dgm:pt>
    <dgm:pt modelId="{BF4CC770-8042-4CA0-A2D5-887853B4CFE5}" type="sibTrans" cxnId="{0E92DACB-3C4F-4FB1-B581-B53A0FEAF239}">
      <dgm:prSet/>
      <dgm:spPr/>
      <dgm:t>
        <a:bodyPr/>
        <a:lstStyle/>
        <a:p>
          <a:endParaRPr lang="en-US"/>
        </a:p>
      </dgm:t>
    </dgm:pt>
    <dgm:pt modelId="{6505339B-80F7-43F9-9A41-CA3C35D33365}">
      <dgm:prSet phldrT="[Text]"/>
      <dgm:spPr/>
      <dgm:t>
        <a:bodyPr/>
        <a:lstStyle/>
        <a:p>
          <a:r>
            <a:rPr lang="en-US" dirty="0"/>
            <a:t>Email Campaign</a:t>
          </a:r>
        </a:p>
      </dgm:t>
    </dgm:pt>
    <dgm:pt modelId="{39378270-D73F-4FDE-BE37-7D222DFE2130}" type="parTrans" cxnId="{EF38559C-6BDC-4EBA-B2C6-D197E02C35F8}">
      <dgm:prSet/>
      <dgm:spPr/>
      <dgm:t>
        <a:bodyPr/>
        <a:lstStyle/>
        <a:p>
          <a:endParaRPr lang="en-US"/>
        </a:p>
      </dgm:t>
    </dgm:pt>
    <dgm:pt modelId="{794872F0-EF2A-42A5-854B-D0BB7161BD34}" type="sibTrans" cxnId="{EF38559C-6BDC-4EBA-B2C6-D197E02C35F8}">
      <dgm:prSet/>
      <dgm:spPr/>
      <dgm:t>
        <a:bodyPr/>
        <a:lstStyle/>
        <a:p>
          <a:endParaRPr lang="en-US"/>
        </a:p>
      </dgm:t>
    </dgm:pt>
    <dgm:pt modelId="{CD704C54-28A0-4779-8E80-CAA26C6D4F95}">
      <dgm:prSet phldrT="[Text]"/>
      <dgm:spPr/>
      <dgm:t>
        <a:bodyPr/>
        <a:lstStyle/>
        <a:p>
          <a:r>
            <a:rPr lang="en-US" dirty="0"/>
            <a:t>DM Campaign</a:t>
          </a:r>
        </a:p>
      </dgm:t>
    </dgm:pt>
    <dgm:pt modelId="{61C891DD-FAD6-416F-9E49-40997940C8F1}" type="parTrans" cxnId="{AB7B32BF-4FE6-4431-A9B6-68ECA7CE0F31}">
      <dgm:prSet/>
      <dgm:spPr/>
      <dgm:t>
        <a:bodyPr/>
        <a:lstStyle/>
        <a:p>
          <a:endParaRPr lang="en-US"/>
        </a:p>
      </dgm:t>
    </dgm:pt>
    <dgm:pt modelId="{F5C3E36A-38D7-4A0C-B557-916AB37FDAD5}" type="sibTrans" cxnId="{AB7B32BF-4FE6-4431-A9B6-68ECA7CE0F31}">
      <dgm:prSet/>
      <dgm:spPr/>
      <dgm:t>
        <a:bodyPr/>
        <a:lstStyle/>
        <a:p>
          <a:endParaRPr lang="en-US"/>
        </a:p>
      </dgm:t>
    </dgm:pt>
    <dgm:pt modelId="{5472B754-9A3C-42FC-AA15-3855F7537CD0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sz="900" dirty="0"/>
            <a:t>Total Customer Targeted</a:t>
          </a:r>
        </a:p>
        <a:p>
          <a:r>
            <a:rPr lang="en-US" sz="900" dirty="0"/>
            <a:t>Additional Revenue </a:t>
          </a:r>
        </a:p>
        <a:p>
          <a:r>
            <a:rPr lang="en-US" sz="900" dirty="0"/>
            <a:t>Campaign Lift</a:t>
          </a:r>
        </a:p>
      </dgm:t>
    </dgm:pt>
    <dgm:pt modelId="{B3C7AF59-B2E7-41B8-B65B-5DE9E45DAB5B}" type="parTrans" cxnId="{97BDB808-658C-4AF5-9CC8-C7941F211E69}">
      <dgm:prSet/>
      <dgm:spPr/>
      <dgm:t>
        <a:bodyPr/>
        <a:lstStyle/>
        <a:p>
          <a:endParaRPr lang="en-US"/>
        </a:p>
      </dgm:t>
    </dgm:pt>
    <dgm:pt modelId="{937E2EA3-B891-423D-A54C-ADD0D016C879}" type="sibTrans" cxnId="{97BDB808-658C-4AF5-9CC8-C7941F211E69}">
      <dgm:prSet/>
      <dgm:spPr/>
      <dgm:t>
        <a:bodyPr/>
        <a:lstStyle/>
        <a:p>
          <a:endParaRPr lang="en-US"/>
        </a:p>
      </dgm:t>
    </dgm:pt>
    <dgm:pt modelId="{5BACD0CF-C5EF-49C2-9139-1ADDCCCC4D0C}" type="pres">
      <dgm:prSet presAssocID="{A4BA5AE8-F9CA-47A4-BF72-19E17A31FB14}" presName="Name0" presStyleCnt="0">
        <dgm:presLayoutVars>
          <dgm:chMax val="4"/>
          <dgm:resizeHandles val="exact"/>
        </dgm:presLayoutVars>
      </dgm:prSet>
      <dgm:spPr/>
    </dgm:pt>
    <dgm:pt modelId="{3611A7D1-C508-4CF8-9B52-811A73E1353F}" type="pres">
      <dgm:prSet presAssocID="{A4BA5AE8-F9CA-47A4-BF72-19E17A31FB14}" presName="ellipse" presStyleLbl="trBgShp" presStyleIdx="0" presStyleCnt="1"/>
      <dgm:spPr/>
    </dgm:pt>
    <dgm:pt modelId="{EC0A1CC9-F2F2-4DAD-9ED7-168180D81763}" type="pres">
      <dgm:prSet presAssocID="{A4BA5AE8-F9CA-47A4-BF72-19E17A31FB14}" presName="arrow1" presStyleLbl="fgShp" presStyleIdx="0" presStyleCnt="1"/>
      <dgm:spPr/>
    </dgm:pt>
    <dgm:pt modelId="{83FE00D7-839E-41AF-9DAC-0220F837AAF9}" type="pres">
      <dgm:prSet presAssocID="{A4BA5AE8-F9CA-47A4-BF72-19E17A31FB14}" presName="rectangle" presStyleLbl="revTx" presStyleIdx="0" presStyleCnt="1" custScaleX="105574">
        <dgm:presLayoutVars>
          <dgm:bulletEnabled val="1"/>
        </dgm:presLayoutVars>
      </dgm:prSet>
      <dgm:spPr>
        <a:prstGeom prst="roundRect">
          <a:avLst/>
        </a:prstGeom>
      </dgm:spPr>
    </dgm:pt>
    <dgm:pt modelId="{C6F93222-D99A-46F3-BC31-A161BC0085D2}" type="pres">
      <dgm:prSet presAssocID="{6505339B-80F7-43F9-9A41-CA3C35D33365}" presName="item1" presStyleLbl="node1" presStyleIdx="0" presStyleCnt="3">
        <dgm:presLayoutVars>
          <dgm:bulletEnabled val="1"/>
        </dgm:presLayoutVars>
      </dgm:prSet>
      <dgm:spPr/>
    </dgm:pt>
    <dgm:pt modelId="{65AF5053-9D97-4FB9-A851-CFDAD9B70595}" type="pres">
      <dgm:prSet presAssocID="{CD704C54-28A0-4779-8E80-CAA26C6D4F95}" presName="item2" presStyleLbl="node1" presStyleIdx="1" presStyleCnt="3">
        <dgm:presLayoutVars>
          <dgm:bulletEnabled val="1"/>
        </dgm:presLayoutVars>
      </dgm:prSet>
      <dgm:spPr/>
    </dgm:pt>
    <dgm:pt modelId="{CB47400C-82C0-4D1C-B885-0EE8F8B27A8F}" type="pres">
      <dgm:prSet presAssocID="{5472B754-9A3C-42FC-AA15-3855F7537CD0}" presName="item3" presStyleLbl="node1" presStyleIdx="2" presStyleCnt="3" custScaleY="90909">
        <dgm:presLayoutVars>
          <dgm:bulletEnabled val="1"/>
        </dgm:presLayoutVars>
      </dgm:prSet>
      <dgm:spPr/>
    </dgm:pt>
    <dgm:pt modelId="{D14148E2-C32D-452A-B26D-743A93AF7F51}" type="pres">
      <dgm:prSet presAssocID="{A4BA5AE8-F9CA-47A4-BF72-19E17A31FB14}" presName="funnel" presStyleLbl="trAlignAcc1" presStyleIdx="0" presStyleCnt="1"/>
      <dgm:spPr/>
    </dgm:pt>
  </dgm:ptLst>
  <dgm:cxnLst>
    <dgm:cxn modelId="{97BDB808-658C-4AF5-9CC8-C7941F211E69}" srcId="{A4BA5AE8-F9CA-47A4-BF72-19E17A31FB14}" destId="{5472B754-9A3C-42FC-AA15-3855F7537CD0}" srcOrd="3" destOrd="0" parTransId="{B3C7AF59-B2E7-41B8-B65B-5DE9E45DAB5B}" sibTransId="{937E2EA3-B891-423D-A54C-ADD0D016C879}"/>
    <dgm:cxn modelId="{3EC17A14-BED9-448D-8575-B19707C24DB3}" type="presOf" srcId="{EB3EED99-EF7C-43FA-88C5-41AEAD57531A}" destId="{CB47400C-82C0-4D1C-B885-0EE8F8B27A8F}" srcOrd="0" destOrd="0" presId="urn:microsoft.com/office/officeart/2005/8/layout/funnel1"/>
    <dgm:cxn modelId="{703DB31C-A57B-4516-859A-C6D227104FBE}" type="presOf" srcId="{A4BA5AE8-F9CA-47A4-BF72-19E17A31FB14}" destId="{5BACD0CF-C5EF-49C2-9139-1ADDCCCC4D0C}" srcOrd="0" destOrd="0" presId="urn:microsoft.com/office/officeart/2005/8/layout/funnel1"/>
    <dgm:cxn modelId="{AAD1A135-AF2D-4248-B674-878DB852E268}" type="presOf" srcId="{CD704C54-28A0-4779-8E80-CAA26C6D4F95}" destId="{C6F93222-D99A-46F3-BC31-A161BC0085D2}" srcOrd="0" destOrd="0" presId="urn:microsoft.com/office/officeart/2005/8/layout/funnel1"/>
    <dgm:cxn modelId="{3ED34495-4440-4944-9830-D42ABA2C5F36}" type="presOf" srcId="{5472B754-9A3C-42FC-AA15-3855F7537CD0}" destId="{83FE00D7-839E-41AF-9DAC-0220F837AAF9}" srcOrd="0" destOrd="0" presId="urn:microsoft.com/office/officeart/2005/8/layout/funnel1"/>
    <dgm:cxn modelId="{EF38559C-6BDC-4EBA-B2C6-D197E02C35F8}" srcId="{A4BA5AE8-F9CA-47A4-BF72-19E17A31FB14}" destId="{6505339B-80F7-43F9-9A41-CA3C35D33365}" srcOrd="1" destOrd="0" parTransId="{39378270-D73F-4FDE-BE37-7D222DFE2130}" sibTransId="{794872F0-EF2A-42A5-854B-D0BB7161BD34}"/>
    <dgm:cxn modelId="{AB7B32BF-4FE6-4431-A9B6-68ECA7CE0F31}" srcId="{A4BA5AE8-F9CA-47A4-BF72-19E17A31FB14}" destId="{CD704C54-28A0-4779-8E80-CAA26C6D4F95}" srcOrd="2" destOrd="0" parTransId="{61C891DD-FAD6-416F-9E49-40997940C8F1}" sibTransId="{F5C3E36A-38D7-4A0C-B557-916AB37FDAD5}"/>
    <dgm:cxn modelId="{0E92DACB-3C4F-4FB1-B581-B53A0FEAF239}" srcId="{A4BA5AE8-F9CA-47A4-BF72-19E17A31FB14}" destId="{EB3EED99-EF7C-43FA-88C5-41AEAD57531A}" srcOrd="0" destOrd="0" parTransId="{267C2EC5-F50B-4CAF-8212-485D3626693B}" sibTransId="{BF4CC770-8042-4CA0-A2D5-887853B4CFE5}"/>
    <dgm:cxn modelId="{C0CC69D6-09D8-472E-9035-ABB340AB716E}" type="presOf" srcId="{6505339B-80F7-43F9-9A41-CA3C35D33365}" destId="{65AF5053-9D97-4FB9-A851-CFDAD9B70595}" srcOrd="0" destOrd="0" presId="urn:microsoft.com/office/officeart/2005/8/layout/funnel1"/>
    <dgm:cxn modelId="{B8BC2DAD-3C00-45BA-9EAC-2463CF1A8373}" type="presParOf" srcId="{5BACD0CF-C5EF-49C2-9139-1ADDCCCC4D0C}" destId="{3611A7D1-C508-4CF8-9B52-811A73E1353F}" srcOrd="0" destOrd="0" presId="urn:microsoft.com/office/officeart/2005/8/layout/funnel1"/>
    <dgm:cxn modelId="{A548A27F-8AD0-45BD-9BA7-394D8E08192C}" type="presParOf" srcId="{5BACD0CF-C5EF-49C2-9139-1ADDCCCC4D0C}" destId="{EC0A1CC9-F2F2-4DAD-9ED7-168180D81763}" srcOrd="1" destOrd="0" presId="urn:microsoft.com/office/officeart/2005/8/layout/funnel1"/>
    <dgm:cxn modelId="{D0D5629F-1C07-4E8C-93EB-1E63B32438A9}" type="presParOf" srcId="{5BACD0CF-C5EF-49C2-9139-1ADDCCCC4D0C}" destId="{83FE00D7-839E-41AF-9DAC-0220F837AAF9}" srcOrd="2" destOrd="0" presId="urn:microsoft.com/office/officeart/2005/8/layout/funnel1"/>
    <dgm:cxn modelId="{B65A9B83-3C52-4B40-94A8-BD6CDB492ABD}" type="presParOf" srcId="{5BACD0CF-C5EF-49C2-9139-1ADDCCCC4D0C}" destId="{C6F93222-D99A-46F3-BC31-A161BC0085D2}" srcOrd="3" destOrd="0" presId="urn:microsoft.com/office/officeart/2005/8/layout/funnel1"/>
    <dgm:cxn modelId="{D11BBDC9-9382-4A4A-B71A-F498737FB2B2}" type="presParOf" srcId="{5BACD0CF-C5EF-49C2-9139-1ADDCCCC4D0C}" destId="{65AF5053-9D97-4FB9-A851-CFDAD9B70595}" srcOrd="4" destOrd="0" presId="urn:microsoft.com/office/officeart/2005/8/layout/funnel1"/>
    <dgm:cxn modelId="{D3D80B33-6406-4F80-B620-55116728D119}" type="presParOf" srcId="{5BACD0CF-C5EF-49C2-9139-1ADDCCCC4D0C}" destId="{CB47400C-82C0-4D1C-B885-0EE8F8B27A8F}" srcOrd="5" destOrd="0" presId="urn:microsoft.com/office/officeart/2005/8/layout/funnel1"/>
    <dgm:cxn modelId="{0E2D4199-06C4-4142-971D-BEF1FA9D98E0}" type="presParOf" srcId="{5BACD0CF-C5EF-49C2-9139-1ADDCCCC4D0C}" destId="{D14148E2-C32D-452A-B26D-743A93AF7F51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4BA5AE8-F9CA-47A4-BF72-19E17A31FB14}" type="doc">
      <dgm:prSet loTypeId="urn:microsoft.com/office/officeart/2005/8/layout/funnel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B3EED99-EF7C-43FA-88C5-41AEAD57531A}">
      <dgm:prSet phldrT="[Text]"/>
      <dgm:spPr/>
      <dgm:t>
        <a:bodyPr/>
        <a:lstStyle/>
        <a:p>
          <a:r>
            <a:rPr lang="en-US" dirty="0"/>
            <a:t>Attrition Campaign</a:t>
          </a:r>
        </a:p>
      </dgm:t>
    </dgm:pt>
    <dgm:pt modelId="{267C2EC5-F50B-4CAF-8212-485D3626693B}" type="parTrans" cxnId="{0E92DACB-3C4F-4FB1-B581-B53A0FEAF239}">
      <dgm:prSet/>
      <dgm:spPr/>
      <dgm:t>
        <a:bodyPr/>
        <a:lstStyle/>
        <a:p>
          <a:endParaRPr lang="en-US"/>
        </a:p>
      </dgm:t>
    </dgm:pt>
    <dgm:pt modelId="{BF4CC770-8042-4CA0-A2D5-887853B4CFE5}" type="sibTrans" cxnId="{0E92DACB-3C4F-4FB1-B581-B53A0FEAF239}">
      <dgm:prSet/>
      <dgm:spPr/>
      <dgm:t>
        <a:bodyPr/>
        <a:lstStyle/>
        <a:p>
          <a:endParaRPr lang="en-US"/>
        </a:p>
      </dgm:t>
    </dgm:pt>
    <dgm:pt modelId="{6505339B-80F7-43F9-9A41-CA3C35D33365}">
      <dgm:prSet phldrT="[Text]"/>
      <dgm:spPr/>
      <dgm:t>
        <a:bodyPr/>
        <a:lstStyle/>
        <a:p>
          <a:r>
            <a:rPr lang="en-US" dirty="0"/>
            <a:t>Email Campaign</a:t>
          </a:r>
        </a:p>
      </dgm:t>
    </dgm:pt>
    <dgm:pt modelId="{39378270-D73F-4FDE-BE37-7D222DFE2130}" type="parTrans" cxnId="{EF38559C-6BDC-4EBA-B2C6-D197E02C35F8}">
      <dgm:prSet/>
      <dgm:spPr/>
      <dgm:t>
        <a:bodyPr/>
        <a:lstStyle/>
        <a:p>
          <a:endParaRPr lang="en-US"/>
        </a:p>
      </dgm:t>
    </dgm:pt>
    <dgm:pt modelId="{794872F0-EF2A-42A5-854B-D0BB7161BD34}" type="sibTrans" cxnId="{EF38559C-6BDC-4EBA-B2C6-D197E02C35F8}">
      <dgm:prSet/>
      <dgm:spPr/>
      <dgm:t>
        <a:bodyPr/>
        <a:lstStyle/>
        <a:p>
          <a:endParaRPr lang="en-US"/>
        </a:p>
      </dgm:t>
    </dgm:pt>
    <dgm:pt modelId="{CD704C54-28A0-4779-8E80-CAA26C6D4F95}">
      <dgm:prSet phldrT="[Text]"/>
      <dgm:spPr/>
      <dgm:t>
        <a:bodyPr/>
        <a:lstStyle/>
        <a:p>
          <a:r>
            <a:rPr lang="en-US" dirty="0"/>
            <a:t>DM Campaign</a:t>
          </a:r>
        </a:p>
      </dgm:t>
    </dgm:pt>
    <dgm:pt modelId="{61C891DD-FAD6-416F-9E49-40997940C8F1}" type="parTrans" cxnId="{AB7B32BF-4FE6-4431-A9B6-68ECA7CE0F31}">
      <dgm:prSet/>
      <dgm:spPr/>
      <dgm:t>
        <a:bodyPr/>
        <a:lstStyle/>
        <a:p>
          <a:endParaRPr lang="en-US"/>
        </a:p>
      </dgm:t>
    </dgm:pt>
    <dgm:pt modelId="{F5C3E36A-38D7-4A0C-B557-916AB37FDAD5}" type="sibTrans" cxnId="{AB7B32BF-4FE6-4431-A9B6-68ECA7CE0F31}">
      <dgm:prSet/>
      <dgm:spPr/>
      <dgm:t>
        <a:bodyPr/>
        <a:lstStyle/>
        <a:p>
          <a:endParaRPr lang="en-US"/>
        </a:p>
      </dgm:t>
    </dgm:pt>
    <dgm:pt modelId="{5472B754-9A3C-42FC-AA15-3855F7537CD0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sz="900" dirty="0"/>
            <a:t>Total Customer Targeted</a:t>
          </a:r>
        </a:p>
        <a:p>
          <a:r>
            <a:rPr lang="en-US" sz="900" dirty="0"/>
            <a:t>Additional Revenue </a:t>
          </a:r>
        </a:p>
        <a:p>
          <a:r>
            <a:rPr lang="en-US" sz="900" dirty="0"/>
            <a:t>Campaign Lift</a:t>
          </a:r>
        </a:p>
      </dgm:t>
    </dgm:pt>
    <dgm:pt modelId="{B3C7AF59-B2E7-41B8-B65B-5DE9E45DAB5B}" type="parTrans" cxnId="{97BDB808-658C-4AF5-9CC8-C7941F211E69}">
      <dgm:prSet/>
      <dgm:spPr/>
      <dgm:t>
        <a:bodyPr/>
        <a:lstStyle/>
        <a:p>
          <a:endParaRPr lang="en-US"/>
        </a:p>
      </dgm:t>
    </dgm:pt>
    <dgm:pt modelId="{937E2EA3-B891-423D-A54C-ADD0D016C879}" type="sibTrans" cxnId="{97BDB808-658C-4AF5-9CC8-C7941F211E69}">
      <dgm:prSet/>
      <dgm:spPr/>
      <dgm:t>
        <a:bodyPr/>
        <a:lstStyle/>
        <a:p>
          <a:endParaRPr lang="en-US"/>
        </a:p>
      </dgm:t>
    </dgm:pt>
    <dgm:pt modelId="{5BACD0CF-C5EF-49C2-9139-1ADDCCCC4D0C}" type="pres">
      <dgm:prSet presAssocID="{A4BA5AE8-F9CA-47A4-BF72-19E17A31FB14}" presName="Name0" presStyleCnt="0">
        <dgm:presLayoutVars>
          <dgm:chMax val="4"/>
          <dgm:resizeHandles val="exact"/>
        </dgm:presLayoutVars>
      </dgm:prSet>
      <dgm:spPr/>
    </dgm:pt>
    <dgm:pt modelId="{3611A7D1-C508-4CF8-9B52-811A73E1353F}" type="pres">
      <dgm:prSet presAssocID="{A4BA5AE8-F9CA-47A4-BF72-19E17A31FB14}" presName="ellipse" presStyleLbl="trBgShp" presStyleIdx="0" presStyleCnt="1"/>
      <dgm:spPr/>
    </dgm:pt>
    <dgm:pt modelId="{EC0A1CC9-F2F2-4DAD-9ED7-168180D81763}" type="pres">
      <dgm:prSet presAssocID="{A4BA5AE8-F9CA-47A4-BF72-19E17A31FB14}" presName="arrow1" presStyleLbl="fgShp" presStyleIdx="0" presStyleCnt="1"/>
      <dgm:spPr/>
    </dgm:pt>
    <dgm:pt modelId="{83FE00D7-839E-41AF-9DAC-0220F837AAF9}" type="pres">
      <dgm:prSet presAssocID="{A4BA5AE8-F9CA-47A4-BF72-19E17A31FB14}" presName="rectangle" presStyleLbl="revTx" presStyleIdx="0" presStyleCnt="1" custScaleX="105574">
        <dgm:presLayoutVars>
          <dgm:bulletEnabled val="1"/>
        </dgm:presLayoutVars>
      </dgm:prSet>
      <dgm:spPr>
        <a:prstGeom prst="roundRect">
          <a:avLst/>
        </a:prstGeom>
      </dgm:spPr>
    </dgm:pt>
    <dgm:pt modelId="{C6F93222-D99A-46F3-BC31-A161BC0085D2}" type="pres">
      <dgm:prSet presAssocID="{6505339B-80F7-43F9-9A41-CA3C35D33365}" presName="item1" presStyleLbl="node1" presStyleIdx="0" presStyleCnt="3">
        <dgm:presLayoutVars>
          <dgm:bulletEnabled val="1"/>
        </dgm:presLayoutVars>
      </dgm:prSet>
      <dgm:spPr/>
    </dgm:pt>
    <dgm:pt modelId="{65AF5053-9D97-4FB9-A851-CFDAD9B70595}" type="pres">
      <dgm:prSet presAssocID="{CD704C54-28A0-4779-8E80-CAA26C6D4F95}" presName="item2" presStyleLbl="node1" presStyleIdx="1" presStyleCnt="3">
        <dgm:presLayoutVars>
          <dgm:bulletEnabled val="1"/>
        </dgm:presLayoutVars>
      </dgm:prSet>
      <dgm:spPr/>
    </dgm:pt>
    <dgm:pt modelId="{CB47400C-82C0-4D1C-B885-0EE8F8B27A8F}" type="pres">
      <dgm:prSet presAssocID="{5472B754-9A3C-42FC-AA15-3855F7537CD0}" presName="item3" presStyleLbl="node1" presStyleIdx="2" presStyleCnt="3" custScaleY="90909">
        <dgm:presLayoutVars>
          <dgm:bulletEnabled val="1"/>
        </dgm:presLayoutVars>
      </dgm:prSet>
      <dgm:spPr/>
    </dgm:pt>
    <dgm:pt modelId="{D14148E2-C32D-452A-B26D-743A93AF7F51}" type="pres">
      <dgm:prSet presAssocID="{A4BA5AE8-F9CA-47A4-BF72-19E17A31FB14}" presName="funnel" presStyleLbl="trAlignAcc1" presStyleIdx="0" presStyleCnt="1" custLinFactNeighborX="-509"/>
      <dgm:spPr/>
    </dgm:pt>
  </dgm:ptLst>
  <dgm:cxnLst>
    <dgm:cxn modelId="{97BDB808-658C-4AF5-9CC8-C7941F211E69}" srcId="{A4BA5AE8-F9CA-47A4-BF72-19E17A31FB14}" destId="{5472B754-9A3C-42FC-AA15-3855F7537CD0}" srcOrd="3" destOrd="0" parTransId="{B3C7AF59-B2E7-41B8-B65B-5DE9E45DAB5B}" sibTransId="{937E2EA3-B891-423D-A54C-ADD0D016C879}"/>
    <dgm:cxn modelId="{3EC17A14-BED9-448D-8575-B19707C24DB3}" type="presOf" srcId="{EB3EED99-EF7C-43FA-88C5-41AEAD57531A}" destId="{CB47400C-82C0-4D1C-B885-0EE8F8B27A8F}" srcOrd="0" destOrd="0" presId="urn:microsoft.com/office/officeart/2005/8/layout/funnel1"/>
    <dgm:cxn modelId="{703DB31C-A57B-4516-859A-C6D227104FBE}" type="presOf" srcId="{A4BA5AE8-F9CA-47A4-BF72-19E17A31FB14}" destId="{5BACD0CF-C5EF-49C2-9139-1ADDCCCC4D0C}" srcOrd="0" destOrd="0" presId="urn:microsoft.com/office/officeart/2005/8/layout/funnel1"/>
    <dgm:cxn modelId="{AAD1A135-AF2D-4248-B674-878DB852E268}" type="presOf" srcId="{CD704C54-28A0-4779-8E80-CAA26C6D4F95}" destId="{C6F93222-D99A-46F3-BC31-A161BC0085D2}" srcOrd="0" destOrd="0" presId="urn:microsoft.com/office/officeart/2005/8/layout/funnel1"/>
    <dgm:cxn modelId="{3ED34495-4440-4944-9830-D42ABA2C5F36}" type="presOf" srcId="{5472B754-9A3C-42FC-AA15-3855F7537CD0}" destId="{83FE00D7-839E-41AF-9DAC-0220F837AAF9}" srcOrd="0" destOrd="0" presId="urn:microsoft.com/office/officeart/2005/8/layout/funnel1"/>
    <dgm:cxn modelId="{EF38559C-6BDC-4EBA-B2C6-D197E02C35F8}" srcId="{A4BA5AE8-F9CA-47A4-BF72-19E17A31FB14}" destId="{6505339B-80F7-43F9-9A41-CA3C35D33365}" srcOrd="1" destOrd="0" parTransId="{39378270-D73F-4FDE-BE37-7D222DFE2130}" sibTransId="{794872F0-EF2A-42A5-854B-D0BB7161BD34}"/>
    <dgm:cxn modelId="{AB7B32BF-4FE6-4431-A9B6-68ECA7CE0F31}" srcId="{A4BA5AE8-F9CA-47A4-BF72-19E17A31FB14}" destId="{CD704C54-28A0-4779-8E80-CAA26C6D4F95}" srcOrd="2" destOrd="0" parTransId="{61C891DD-FAD6-416F-9E49-40997940C8F1}" sibTransId="{F5C3E36A-38D7-4A0C-B557-916AB37FDAD5}"/>
    <dgm:cxn modelId="{0E92DACB-3C4F-4FB1-B581-B53A0FEAF239}" srcId="{A4BA5AE8-F9CA-47A4-BF72-19E17A31FB14}" destId="{EB3EED99-EF7C-43FA-88C5-41AEAD57531A}" srcOrd="0" destOrd="0" parTransId="{267C2EC5-F50B-4CAF-8212-485D3626693B}" sibTransId="{BF4CC770-8042-4CA0-A2D5-887853B4CFE5}"/>
    <dgm:cxn modelId="{C0CC69D6-09D8-472E-9035-ABB340AB716E}" type="presOf" srcId="{6505339B-80F7-43F9-9A41-CA3C35D33365}" destId="{65AF5053-9D97-4FB9-A851-CFDAD9B70595}" srcOrd="0" destOrd="0" presId="urn:microsoft.com/office/officeart/2005/8/layout/funnel1"/>
    <dgm:cxn modelId="{B8BC2DAD-3C00-45BA-9EAC-2463CF1A8373}" type="presParOf" srcId="{5BACD0CF-C5EF-49C2-9139-1ADDCCCC4D0C}" destId="{3611A7D1-C508-4CF8-9B52-811A73E1353F}" srcOrd="0" destOrd="0" presId="urn:microsoft.com/office/officeart/2005/8/layout/funnel1"/>
    <dgm:cxn modelId="{A548A27F-8AD0-45BD-9BA7-394D8E08192C}" type="presParOf" srcId="{5BACD0CF-C5EF-49C2-9139-1ADDCCCC4D0C}" destId="{EC0A1CC9-F2F2-4DAD-9ED7-168180D81763}" srcOrd="1" destOrd="0" presId="urn:microsoft.com/office/officeart/2005/8/layout/funnel1"/>
    <dgm:cxn modelId="{D0D5629F-1C07-4E8C-93EB-1E63B32438A9}" type="presParOf" srcId="{5BACD0CF-C5EF-49C2-9139-1ADDCCCC4D0C}" destId="{83FE00D7-839E-41AF-9DAC-0220F837AAF9}" srcOrd="2" destOrd="0" presId="urn:microsoft.com/office/officeart/2005/8/layout/funnel1"/>
    <dgm:cxn modelId="{B65A9B83-3C52-4B40-94A8-BD6CDB492ABD}" type="presParOf" srcId="{5BACD0CF-C5EF-49C2-9139-1ADDCCCC4D0C}" destId="{C6F93222-D99A-46F3-BC31-A161BC0085D2}" srcOrd="3" destOrd="0" presId="urn:microsoft.com/office/officeart/2005/8/layout/funnel1"/>
    <dgm:cxn modelId="{D11BBDC9-9382-4A4A-B71A-F498737FB2B2}" type="presParOf" srcId="{5BACD0CF-C5EF-49C2-9139-1ADDCCCC4D0C}" destId="{65AF5053-9D97-4FB9-A851-CFDAD9B70595}" srcOrd="4" destOrd="0" presId="urn:microsoft.com/office/officeart/2005/8/layout/funnel1"/>
    <dgm:cxn modelId="{D3D80B33-6406-4F80-B620-55116728D119}" type="presParOf" srcId="{5BACD0CF-C5EF-49C2-9139-1ADDCCCC4D0C}" destId="{CB47400C-82C0-4D1C-B885-0EE8F8B27A8F}" srcOrd="5" destOrd="0" presId="urn:microsoft.com/office/officeart/2005/8/layout/funnel1"/>
    <dgm:cxn modelId="{0E2D4199-06C4-4142-971D-BEF1FA9D98E0}" type="presParOf" srcId="{5BACD0CF-C5EF-49C2-9139-1ADDCCCC4D0C}" destId="{D14148E2-C32D-452A-B26D-743A93AF7F51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11A7D1-C508-4CF8-9B52-811A73E1353F}">
      <dsp:nvSpPr>
        <dsp:cNvPr id="0" name=""/>
        <dsp:cNvSpPr/>
      </dsp:nvSpPr>
      <dsp:spPr>
        <a:xfrm>
          <a:off x="1587795" y="121803"/>
          <a:ext cx="2417323" cy="839504"/>
        </a:xfrm>
        <a:prstGeom prst="ellipse">
          <a:avLst/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0A1CC9-F2F2-4DAD-9ED7-168180D81763}">
      <dsp:nvSpPr>
        <dsp:cNvPr id="0" name=""/>
        <dsp:cNvSpPr/>
      </dsp:nvSpPr>
      <dsp:spPr>
        <a:xfrm>
          <a:off x="2565968" y="2177465"/>
          <a:ext cx="468473" cy="299823"/>
        </a:xfrm>
        <a:prstGeom prst="down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FE00D7-839E-41AF-9DAC-0220F837AAF9}">
      <dsp:nvSpPr>
        <dsp:cNvPr id="0" name=""/>
        <dsp:cNvSpPr/>
      </dsp:nvSpPr>
      <dsp:spPr>
        <a:xfrm>
          <a:off x="1613198" y="2417323"/>
          <a:ext cx="2374014" cy="562168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Total Customer Targeted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Additional Revenue 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Campaign Lift</a:t>
          </a:r>
        </a:p>
      </dsp:txBody>
      <dsp:txXfrm>
        <a:off x="1640641" y="2444766"/>
        <a:ext cx="2319128" cy="507282"/>
      </dsp:txXfrm>
    </dsp:sp>
    <dsp:sp modelId="{C6F93222-D99A-46F3-BC31-A161BC0085D2}">
      <dsp:nvSpPr>
        <dsp:cNvPr id="0" name=""/>
        <dsp:cNvSpPr/>
      </dsp:nvSpPr>
      <dsp:spPr>
        <a:xfrm>
          <a:off x="2466652" y="1026144"/>
          <a:ext cx="843252" cy="84325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DM Campaign</a:t>
          </a:r>
        </a:p>
      </dsp:txBody>
      <dsp:txXfrm>
        <a:off x="2590143" y="1149635"/>
        <a:ext cx="596270" cy="596270"/>
      </dsp:txXfrm>
    </dsp:sp>
    <dsp:sp modelId="{65AF5053-9D97-4FB9-A851-CFDAD9B70595}">
      <dsp:nvSpPr>
        <dsp:cNvPr id="0" name=""/>
        <dsp:cNvSpPr/>
      </dsp:nvSpPr>
      <dsp:spPr>
        <a:xfrm>
          <a:off x="1863258" y="393517"/>
          <a:ext cx="843252" cy="84325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Email Campaign</a:t>
          </a:r>
        </a:p>
      </dsp:txBody>
      <dsp:txXfrm>
        <a:off x="1986749" y="517008"/>
        <a:ext cx="596270" cy="596270"/>
      </dsp:txXfrm>
    </dsp:sp>
    <dsp:sp modelId="{CB47400C-82C0-4D1C-B885-0EE8F8B27A8F}">
      <dsp:nvSpPr>
        <dsp:cNvPr id="0" name=""/>
        <dsp:cNvSpPr/>
      </dsp:nvSpPr>
      <dsp:spPr>
        <a:xfrm>
          <a:off x="2725249" y="227968"/>
          <a:ext cx="843252" cy="76659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Attrition Campaign</a:t>
          </a:r>
        </a:p>
      </dsp:txBody>
      <dsp:txXfrm>
        <a:off x="2848740" y="340233"/>
        <a:ext cx="596270" cy="542062"/>
      </dsp:txXfrm>
    </dsp:sp>
    <dsp:sp modelId="{D14148E2-C32D-452A-B26D-743A93AF7F51}">
      <dsp:nvSpPr>
        <dsp:cNvPr id="0" name=""/>
        <dsp:cNvSpPr/>
      </dsp:nvSpPr>
      <dsp:spPr>
        <a:xfrm>
          <a:off x="1488479" y="18738"/>
          <a:ext cx="2623452" cy="2098761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11A7D1-C508-4CF8-9B52-811A73E1353F}">
      <dsp:nvSpPr>
        <dsp:cNvPr id="0" name=""/>
        <dsp:cNvSpPr/>
      </dsp:nvSpPr>
      <dsp:spPr>
        <a:xfrm>
          <a:off x="772582" y="97060"/>
          <a:ext cx="1926275" cy="668970"/>
        </a:xfrm>
        <a:prstGeom prst="ellipse">
          <a:avLst/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0A1CC9-F2F2-4DAD-9ED7-168180D81763}">
      <dsp:nvSpPr>
        <dsp:cNvPr id="0" name=""/>
        <dsp:cNvSpPr/>
      </dsp:nvSpPr>
      <dsp:spPr>
        <a:xfrm>
          <a:off x="1552052" y="1735141"/>
          <a:ext cx="373309" cy="238917"/>
        </a:xfrm>
        <a:prstGeom prst="down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FE00D7-839E-41AF-9DAC-0220F837AAF9}">
      <dsp:nvSpPr>
        <dsp:cNvPr id="0" name=""/>
        <dsp:cNvSpPr/>
      </dsp:nvSpPr>
      <dsp:spPr>
        <a:xfrm>
          <a:off x="792825" y="1926275"/>
          <a:ext cx="1891763" cy="447971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Total Customer Targeted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Additional Revenue 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Campaign Lift</a:t>
          </a:r>
        </a:p>
      </dsp:txBody>
      <dsp:txXfrm>
        <a:off x="814693" y="1948143"/>
        <a:ext cx="1848027" cy="404235"/>
      </dsp:txXfrm>
    </dsp:sp>
    <dsp:sp modelId="{C6F93222-D99A-46F3-BC31-A161BC0085D2}">
      <dsp:nvSpPr>
        <dsp:cNvPr id="0" name=""/>
        <dsp:cNvSpPr/>
      </dsp:nvSpPr>
      <dsp:spPr>
        <a:xfrm>
          <a:off x="1472910" y="817696"/>
          <a:ext cx="671956" cy="67195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DM Campaign</a:t>
          </a:r>
        </a:p>
      </dsp:txBody>
      <dsp:txXfrm>
        <a:off x="1571316" y="916102"/>
        <a:ext cx="475144" cy="475144"/>
      </dsp:txXfrm>
    </dsp:sp>
    <dsp:sp modelId="{65AF5053-9D97-4FB9-A851-CFDAD9B70595}">
      <dsp:nvSpPr>
        <dsp:cNvPr id="0" name=""/>
        <dsp:cNvSpPr/>
      </dsp:nvSpPr>
      <dsp:spPr>
        <a:xfrm>
          <a:off x="992088" y="313579"/>
          <a:ext cx="671956" cy="67195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Email Campaign</a:t>
          </a:r>
        </a:p>
      </dsp:txBody>
      <dsp:txXfrm>
        <a:off x="1090494" y="411985"/>
        <a:ext cx="475144" cy="475144"/>
      </dsp:txXfrm>
    </dsp:sp>
    <dsp:sp modelId="{CB47400C-82C0-4D1C-B885-0EE8F8B27A8F}">
      <dsp:nvSpPr>
        <dsp:cNvPr id="0" name=""/>
        <dsp:cNvSpPr/>
      </dsp:nvSpPr>
      <dsp:spPr>
        <a:xfrm>
          <a:off x="1678977" y="181659"/>
          <a:ext cx="671956" cy="61086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Attrition Campaign</a:t>
          </a:r>
        </a:p>
      </dsp:txBody>
      <dsp:txXfrm>
        <a:off x="1777383" y="271119"/>
        <a:ext cx="475144" cy="431949"/>
      </dsp:txXfrm>
    </dsp:sp>
    <dsp:sp modelId="{D14148E2-C32D-452A-B26D-743A93AF7F51}">
      <dsp:nvSpPr>
        <dsp:cNvPr id="0" name=""/>
        <dsp:cNvSpPr/>
      </dsp:nvSpPr>
      <dsp:spPr>
        <a:xfrm>
          <a:off x="682800" y="14932"/>
          <a:ext cx="2090531" cy="1672425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324FDB-0419-4D6F-A685-8F4C92A72D33}" type="datetimeFigureOut">
              <a:rPr lang="en-US" smtClean="0">
                <a:latin typeface="Avenir LT Std 35 Light"/>
              </a:rPr>
              <a:pPr/>
              <a:t>5/23/2017</a:t>
            </a:fld>
            <a:endParaRPr lang="en-US" dirty="0">
              <a:latin typeface="Avenir LT Std 35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F548AF-9D1B-4FA7-A072-23DB0BA1B20E}" type="slidenum">
              <a:rPr lang="en-US" smtClean="0">
                <a:latin typeface="Avenir LT Std 35 Light"/>
              </a:rPr>
              <a:pPr/>
              <a:t>‹#›</a:t>
            </a:fld>
            <a:endParaRPr lang="en-US" dirty="0">
              <a:latin typeface="Avenir LT Std 35 Light"/>
            </a:endParaRPr>
          </a:p>
        </p:txBody>
      </p:sp>
    </p:spTree>
    <p:extLst>
      <p:ext uri="{BB962C8B-B14F-4D97-AF65-F5344CB8AC3E}">
        <p14:creationId xmlns:p14="http://schemas.microsoft.com/office/powerpoint/2010/main" val="309707534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venir LT Std 35 Light"/>
              </a:defRPr>
            </a:lvl1pPr>
          </a:lstStyle>
          <a:p>
            <a:fld id="{8A01F283-6A2C-4BDA-B0E6-041D901AB7CE}" type="datetimeFigureOut">
              <a:rPr lang="en-GB" smtClean="0"/>
              <a:pPr/>
              <a:t>23/05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venir LT Std 35 Light"/>
              </a:defRPr>
            </a:lvl1pPr>
          </a:lstStyle>
          <a:p>
            <a:fld id="{2A45E9E0-E2DF-455A-8CF0-BA7CD71D585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723944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1pPr>
    <a:lvl2pPr marL="457154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2pPr>
    <a:lvl3pPr marL="914306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3pPr>
    <a:lvl4pPr marL="137146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4pPr>
    <a:lvl5pPr marL="1828612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5pPr>
    <a:lvl6pPr marL="228576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86801"/>
            <a:ext cx="6597502" cy="11215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5325" y="3692100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74700"/>
            <a:ext cx="6597502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5"/>
          <p:cNvGrpSpPr/>
          <p:nvPr userDrawn="1"/>
        </p:nvGrpSpPr>
        <p:grpSpPr>
          <a:xfrm>
            <a:off x="7514711" y="577850"/>
            <a:ext cx="1050204" cy="4114800"/>
            <a:chOff x="7637827" y="577850"/>
            <a:chExt cx="1050204" cy="4114800"/>
          </a:xfrm>
        </p:grpSpPr>
        <p:pic>
          <p:nvPicPr>
            <p:cNvPr id="20" name="Picture 19" descr="6logo_lockup_GREY_EVEN_VERT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37827" y="577850"/>
              <a:ext cx="1050204" cy="4114800"/>
            </a:xfrm>
            <a:prstGeom prst="rect">
              <a:avLst/>
            </a:prstGeom>
          </p:spPr>
        </p:pic>
        <p:pic>
          <p:nvPicPr>
            <p:cNvPr id="21" name="Picture 20" descr="6logo_lockup_GREY_EVEN_VERT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37827" y="3587750"/>
              <a:ext cx="1050204" cy="400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8338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953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3"/>
            <a:ext cx="8380413" cy="7611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428750"/>
            <a:ext cx="5375275" cy="304800"/>
          </a:xfrm>
        </p:spPr>
        <p:txBody>
          <a:bodyPr/>
          <a:lstStyle>
            <a:lvl1pPr>
              <a:defRPr sz="900" cap="all" baseline="0">
                <a:solidFill>
                  <a:srgbClr val="5A5D60"/>
                </a:solidFill>
                <a:latin typeface="Avenir LT Std 65 Medium" pitchFamily="34" charset="0"/>
              </a:defRPr>
            </a:lvl1pPr>
            <a:lvl2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2pPr>
            <a:lvl3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3pPr>
            <a:lvl4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4pPr>
            <a:lvl5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/>
          </p:nvPr>
        </p:nvSpPr>
        <p:spPr>
          <a:xfrm>
            <a:off x="384176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4611688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3412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7145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algn="l">
              <a:lnSpc>
                <a:spcPct val="100000"/>
              </a:lnSpc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71500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784017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383967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2991991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59194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4202235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3802184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381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aption Mon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 userDrawn="1"/>
        </p:nvSpPr>
        <p:spPr>
          <a:xfrm>
            <a:off x="2270760" y="3044209"/>
            <a:ext cx="2301240" cy="2114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854952" y="3044194"/>
            <a:ext cx="2273808" cy="20993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4572000" y="938220"/>
            <a:ext cx="2282952" cy="21059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938216"/>
            <a:ext cx="2286000" cy="20907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023775"/>
            <a:ext cx="2286000" cy="340043"/>
          </a:xfrm>
          <a:prstGeom prst="rect">
            <a:avLst/>
          </a:prstGeom>
        </p:spPr>
        <p:txBody>
          <a:bodyPr lIns="91431" tIns="45716" rIns="91431" bIns="45716" anchor="b"/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2286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0"/>
          </p:nvPr>
        </p:nvSpPr>
        <p:spPr>
          <a:xfrm>
            <a:off x="2286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0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858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0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562475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8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6870192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1058972"/>
            <a:ext cx="2286000" cy="30480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21" hasCustomPrompt="1"/>
          </p:nvPr>
        </p:nvSpPr>
        <p:spPr>
          <a:xfrm>
            <a:off x="2286000" y="3176271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7" name="Text Placeholder 24"/>
          <p:cNvSpPr>
            <a:spLocks noGrp="1"/>
          </p:cNvSpPr>
          <p:nvPr>
            <p:ph type="body" sz="quarter" idx="22" hasCustomPrompt="1"/>
          </p:nvPr>
        </p:nvSpPr>
        <p:spPr>
          <a:xfrm>
            <a:off x="6870192" y="3174577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57200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EMPHASIS</a:t>
            </a:r>
            <a:endParaRPr lang="en-GB" dirty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54864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Headline</a:t>
            </a:r>
            <a:endParaRPr lang="en-GB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34219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algn="ctr">
              <a:defRPr b="0" i="0" baseline="0">
                <a:latin typeface="Avenir LT Std 35 Light"/>
              </a:defRPr>
            </a:lvl1pPr>
          </a:lstStyle>
          <a:p>
            <a:r>
              <a:rPr lang="en-GB" dirty="0"/>
              <a:t>Place your picture in this grey area, </a:t>
            </a:r>
            <a:br>
              <a:rPr lang="en-GB" dirty="0"/>
            </a:br>
            <a:r>
              <a:rPr lang="en-GB" dirty="0"/>
              <a:t>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176" y="1211418"/>
            <a:ext cx="4340225" cy="2620963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defRPr kern="1200" cap="all" baseline="0">
                <a:solidFill>
                  <a:schemeClr val="tx1"/>
                </a:solidFill>
                <a:latin typeface="Avenir LT Std 35 Light"/>
              </a:defRPr>
            </a:lvl1pPr>
          </a:lstStyle>
          <a:p>
            <a:r>
              <a:rPr lang="en-GB"/>
              <a:t>CLICK TO ADD TEXT OVER YOUR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1371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87260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9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45716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19852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001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4394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025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84176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713288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7416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186801"/>
            <a:ext cx="7410450" cy="11215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0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5325" y="3692099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1" name="Text Placehold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800" y="774700"/>
            <a:ext cx="7410450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39"/>
          <p:cNvGrpSpPr>
            <a:grpSpLocks noChangeAspect="1"/>
          </p:cNvGrpSpPr>
          <p:nvPr userDrawn="1"/>
        </p:nvGrpSpPr>
        <p:grpSpPr>
          <a:xfrm>
            <a:off x="762007" y="4406902"/>
            <a:ext cx="7616919" cy="311150"/>
            <a:chOff x="762001" y="4540250"/>
            <a:chExt cx="7434072" cy="300993"/>
          </a:xfrm>
        </p:grpSpPr>
        <p:pic>
          <p:nvPicPr>
            <p:cNvPr id="41" name="Picture 40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42" name="Picture 41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85294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219" y="1906074"/>
            <a:ext cx="4129232" cy="21507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0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445" y="421905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668" y="1379381"/>
            <a:ext cx="8392745" cy="457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600" b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68690" y="1906073"/>
            <a:ext cx="4192724" cy="21507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4000" cap="all">
                <a:solidFill>
                  <a:schemeClr val="accent1"/>
                </a:solidFill>
                <a:latin typeface="Avenir LT Std 35 Light"/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348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0" y="1365250"/>
            <a:ext cx="4292600" cy="16383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36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000" y="405028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9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3070224"/>
            <a:ext cx="7308850" cy="746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400" b="0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3428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504950"/>
            <a:ext cx="3733800" cy="2209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lnSpc>
                <a:spcPct val="100000"/>
              </a:lnSpc>
              <a:defRPr sz="400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410200" y="13106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5410200" y="1537639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5410200" y="21488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5410200" y="23758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410200" y="29870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5410200" y="32140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5410200" y="384427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5410200" y="407130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5410200" y="4724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5410200" y="699438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2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66000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831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46710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9589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80967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Content">
    <p:bg>
      <p:bgPr>
        <a:solidFill>
          <a:schemeClr val="accent3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905000" y="0"/>
            <a:ext cx="50292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</a:t>
            </a:r>
            <a:br>
              <a:rPr lang="en-GB" dirty="0"/>
            </a:br>
            <a:r>
              <a:rPr lang="en-GB" dirty="0"/>
              <a:t>in this grey area, </a:t>
            </a:r>
            <a:br>
              <a:rPr lang="en-GB" dirty="0"/>
            </a:br>
            <a:r>
              <a:rPr lang="en-GB" dirty="0"/>
              <a:t>crop accordingly </a:t>
            </a:r>
            <a:br>
              <a:rPr lang="en-GB" dirty="0"/>
            </a:br>
            <a:r>
              <a:rPr lang="en-GB" dirty="0"/>
              <a:t>and then delete </a:t>
            </a:r>
            <a:br>
              <a:rPr lang="en-GB" dirty="0"/>
            </a:br>
            <a:r>
              <a:rPr lang="en-GB" dirty="0"/>
              <a:t>this instruction box</a:t>
            </a:r>
          </a:p>
        </p:txBody>
      </p:sp>
    </p:spTree>
    <p:extLst>
      <p:ext uri="{BB962C8B-B14F-4D97-AF65-F5344CB8AC3E}">
        <p14:creationId xmlns:p14="http://schemas.microsoft.com/office/powerpoint/2010/main" val="27032944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4070" y="1356590"/>
            <a:ext cx="6972880" cy="36472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cap="all" baseline="0">
                <a:solidFill>
                  <a:schemeClr val="accent1"/>
                </a:solidFill>
                <a:latin typeface="Avenir LT Std 35 Light"/>
                <a:cs typeface="Avenir LT Std 35 Light"/>
              </a:defRPr>
            </a:lvl1pPr>
            <a:lvl2pPr>
              <a:defRPr sz="5400">
                <a:latin typeface="Avenir Light"/>
                <a:cs typeface="Avenir Light"/>
              </a:defRPr>
            </a:lvl2pPr>
            <a:lvl3pPr>
              <a:defRPr sz="5400">
                <a:latin typeface="Avenir Light"/>
                <a:cs typeface="Avenir Light"/>
              </a:defRPr>
            </a:lvl3pPr>
            <a:lvl4pPr>
              <a:defRPr sz="5400">
                <a:latin typeface="Avenir Light"/>
                <a:cs typeface="Avenir Light"/>
              </a:defRPr>
            </a:lvl4pPr>
            <a:lvl5pPr>
              <a:defRPr sz="5400">
                <a:latin typeface="Avenir Light"/>
                <a:cs typeface="Avenir Light"/>
              </a:defRPr>
            </a:lvl5pPr>
          </a:lstStyle>
          <a:p>
            <a:pPr lvl="0"/>
            <a:r>
              <a:rPr lang="en-GB"/>
              <a:t>CLICK TO ADD QUOTE OR KEY MESSAGE 10-15 WORDS 5 LINES MAX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74071" y="869951"/>
            <a:ext cx="5375275" cy="4479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 b="0" i="0" kern="0" cap="all" spc="200">
                <a:solidFill>
                  <a:schemeClr val="accent3"/>
                </a:solidFill>
                <a:latin typeface="Avenir LT Std 95 Black"/>
              </a:defRPr>
            </a:lvl1pPr>
            <a:lvl2pPr>
              <a:defRPr sz="900" b="0" i="0" kern="0" cap="all" spc="100">
                <a:latin typeface="Avenir Black"/>
              </a:defRPr>
            </a:lvl2pPr>
            <a:lvl3pPr>
              <a:defRPr sz="900" b="0" i="0" kern="0" cap="all" spc="100">
                <a:latin typeface="Avenir Black"/>
              </a:defRPr>
            </a:lvl3pPr>
            <a:lvl4pPr>
              <a:defRPr sz="900" b="0" i="0" kern="0" cap="all" spc="100">
                <a:latin typeface="Avenir Black"/>
              </a:defRPr>
            </a:lvl4pPr>
            <a:lvl5pPr>
              <a:defRPr sz="900" b="0" i="0" kern="0" cap="all" spc="100">
                <a:latin typeface="Avenir Black"/>
              </a:defRPr>
            </a:lvl5pPr>
          </a:lstStyle>
          <a:p>
            <a:pPr lvl="0"/>
            <a:r>
              <a:rPr lang="en-GB"/>
              <a:t>CliCK to ADD SUBHEAD IF NEEDED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3313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67743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9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2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7705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66611833"/>
              </p:ext>
            </p:extLst>
          </p:nvPr>
        </p:nvGraphicFramePr>
        <p:xfrm>
          <a:off x="1587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917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84175" y="1203326"/>
            <a:ext cx="8377238" cy="3394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036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</p:sldLayoutIdLst>
  <p:hf hdr="0" ftr="0" dt="0"/>
  <p:txStyles>
    <p:titleStyle>
      <a:lvl1pPr algn="l" defTabSz="914306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Avenir LT Std 45 Book" pitchFamily="34" charset="0"/>
          <a:ea typeface="+mj-ea"/>
          <a:cs typeface="+mj-cs"/>
        </a:defRPr>
      </a:lvl1pPr>
    </p:titleStyle>
    <p:bodyStyle>
      <a:lvl1pPr marL="0" indent="0" algn="l" defTabSz="914306" rtl="0" eaLnBrk="1" latinLnBrk="0" hangingPunct="1">
        <a:spcBef>
          <a:spcPct val="20000"/>
        </a:spcBef>
        <a:buFont typeface="Arial" pitchFamily="34" charset="0"/>
        <a:buNone/>
        <a:defRPr sz="1600" b="1" kern="1200">
          <a:solidFill>
            <a:schemeClr val="accent1"/>
          </a:solidFill>
          <a:latin typeface="Avenir LT Std 45 Book" pitchFamily="34" charset="0"/>
          <a:ea typeface="+mn-ea"/>
          <a:cs typeface="+mn-cs"/>
        </a:defRPr>
      </a:lvl1pPr>
      <a:lvl2pPr marL="179982" indent="-179982" algn="l" defTabSz="914306" rtl="0" eaLnBrk="1" latinLnBrk="0" hangingPunct="1">
        <a:spcBef>
          <a:spcPts val="6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2pPr>
      <a:lvl3pPr marL="359963" indent="-179982" algn="l" defTabSz="914306" rtl="0" eaLnBrk="1" latinLnBrk="0" hangingPunct="1">
        <a:spcBef>
          <a:spcPts val="6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3pPr>
      <a:lvl4pPr marL="539945" indent="-179982" algn="l" defTabSz="914306" rtl="0" eaLnBrk="1" latinLnBrk="0" hangingPunct="1">
        <a:spcBef>
          <a:spcPts val="6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4pPr>
      <a:lvl5pPr marL="719926" indent="-179982" algn="l" defTabSz="914306" rtl="0" eaLnBrk="1" latinLnBrk="0" hangingPunct="1">
        <a:spcBef>
          <a:spcPts val="600"/>
        </a:spcBef>
        <a:buFont typeface="Wingdings" pitchFamily="2" charset="2"/>
        <a:buChar char="Ø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5pPr>
      <a:lvl6pPr marL="2514343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5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49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2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19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9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microsoft.com/office/2007/relationships/diagramDrawing" Target="../diagrams/drawing1.xml"/><Relationship Id="rId3" Type="http://schemas.openxmlformats.org/officeDocument/2006/relationships/tags" Target="../tags/tag10.xml"/><Relationship Id="rId7" Type="http://schemas.openxmlformats.org/officeDocument/2006/relationships/oleObject" Target="../embeddings/oleObject8.bin"/><Relationship Id="rId12" Type="http://schemas.openxmlformats.org/officeDocument/2006/relationships/diagramColors" Target="../diagrams/colors1.xml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2.xml"/><Relationship Id="rId6" Type="http://schemas.openxmlformats.org/officeDocument/2006/relationships/notesSlide" Target="../notesSlides/notesSlide2.xml"/><Relationship Id="rId11" Type="http://schemas.openxmlformats.org/officeDocument/2006/relationships/diagramQuickStyle" Target="../diagrams/quickStyle1.xml"/><Relationship Id="rId5" Type="http://schemas.openxmlformats.org/officeDocument/2006/relationships/slideLayout" Target="../slideLayouts/slideLayout14.xml"/><Relationship Id="rId10" Type="http://schemas.openxmlformats.org/officeDocument/2006/relationships/diagramLayout" Target="../diagrams/layout1.xml"/><Relationship Id="rId4" Type="http://schemas.openxmlformats.org/officeDocument/2006/relationships/tags" Target="../tags/tag11.xml"/><Relationship Id="rId9" Type="http://schemas.openxmlformats.org/officeDocument/2006/relationships/diagramData" Target="../diagrams/data1.xml"/><Relationship Id="rId1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0.png"/><Relationship Id="rId3" Type="http://schemas.openxmlformats.org/officeDocument/2006/relationships/tags" Target="../tags/tag13.xml"/><Relationship Id="rId7" Type="http://schemas.openxmlformats.org/officeDocument/2006/relationships/image" Target="../media/image8.emf"/><Relationship Id="rId12" Type="http://schemas.microsoft.com/office/2007/relationships/diagramDrawing" Target="../diagrams/drawing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diagramColors" Target="../diagrams/colors2.xml"/><Relationship Id="rId5" Type="http://schemas.openxmlformats.org/officeDocument/2006/relationships/notesSlide" Target="../notesSlides/notesSlide3.xml"/><Relationship Id="rId10" Type="http://schemas.openxmlformats.org/officeDocument/2006/relationships/diagramQuickStyle" Target="../diagrams/quickStyle2.xml"/><Relationship Id="rId4" Type="http://schemas.openxmlformats.org/officeDocument/2006/relationships/slideLayout" Target="../slideLayouts/slideLayout14.xml"/><Relationship Id="rId9" Type="http://schemas.openxmlformats.org/officeDocument/2006/relationships/diagramLayout" Target="../diagrams/layout2.xml"/><Relationship Id="rId1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989" y="3131267"/>
            <a:ext cx="6477000" cy="429050"/>
          </a:xfrm>
        </p:spPr>
        <p:txBody>
          <a:bodyPr>
            <a:normAutofit lnSpcReduction="10000"/>
          </a:bodyPr>
          <a:lstStyle/>
          <a:p>
            <a:r>
              <a:rPr lang="en-US" dirty="0">
                <a:latin typeface="+mn-lt"/>
              </a:rPr>
              <a:t>MAY 2017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83464" y="774700"/>
            <a:ext cx="8799576" cy="1377950"/>
          </a:xfrm>
        </p:spPr>
        <p:txBody>
          <a:bodyPr/>
          <a:lstStyle/>
          <a:p>
            <a:r>
              <a:rPr lang="en-IN" sz="3800" b="1" dirty="0">
                <a:latin typeface="+mj-lt"/>
              </a:rPr>
              <a:t>GLOBAL CONTROL BASE STRATEGY FOR CAMPAIGN efficacy MEASUREMENT</a:t>
            </a:r>
            <a:endParaRPr lang="en-US" sz="3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5262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1160245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804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46" y="169863"/>
            <a:ext cx="8845687" cy="383436"/>
          </a:xfrm>
        </p:spPr>
        <p:txBody>
          <a:bodyPr lIns="0" tIns="0" rIns="0"/>
          <a:lstStyle/>
          <a:p>
            <a:r>
              <a:rPr lang="en-US" dirty="0">
                <a:latin typeface="+mn-lt"/>
              </a:rPr>
              <a:t>BACKGROUND</a:t>
            </a:r>
          </a:p>
        </p:txBody>
      </p:sp>
      <p:sp>
        <p:nvSpPr>
          <p:cNvPr id="49" name="Rectangle 48"/>
          <p:cNvSpPr/>
          <p:nvPr/>
        </p:nvSpPr>
        <p:spPr>
          <a:xfrm>
            <a:off x="301224" y="596331"/>
            <a:ext cx="6418553" cy="1631216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bjective: 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Gap Inc. acquires millions of new customers  every year over multiple brands across diverse geographies 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Customer profile is diverse in terms of their life stage, shopping preference , communication preference </a:t>
            </a:r>
            <a:r>
              <a:rPr lang="en-US" sz="1000" dirty="0" err="1">
                <a:solidFill>
                  <a:schemeClr val="accent1">
                    <a:lumMod val="75000"/>
                  </a:schemeClr>
                </a:solidFill>
                <a:latin typeface="+mj-lt"/>
              </a:rPr>
              <a:t>etc</a:t>
            </a:r>
            <a:endParaRPr lang="en-US" sz="10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Universal control base for marketing test measurement is necessary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It has to be representative of the overall customer base</a:t>
            </a:r>
          </a:p>
          <a:p>
            <a:pPr lvl="0" algn="just"/>
            <a:endParaRPr lang="en-US" sz="10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lvl="0" algn="just"/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e whole strategy will help in: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Unify the campaign lift measurement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Lift measured is always correct as control base customers are not sent any promotional message from any of the Gap Inc team</a:t>
            </a:r>
          </a:p>
        </p:txBody>
      </p:sp>
      <p:sp>
        <p:nvSpPr>
          <p:cNvPr id="3" name="Rectangle 2"/>
          <p:cNvSpPr/>
          <p:nvPr/>
        </p:nvSpPr>
        <p:spPr>
          <a:xfrm>
            <a:off x="4255400" y="4576420"/>
            <a:ext cx="219075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09575" y="4591050"/>
            <a:ext cx="400050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4011" y="2643298"/>
            <a:ext cx="3903423" cy="2198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869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6312178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6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64147"/>
          </a:xfrm>
        </p:spPr>
        <p:txBody>
          <a:bodyPr lIns="0" tIns="0" rIns="0" bIns="45716"/>
          <a:lstStyle/>
          <a:p>
            <a:r>
              <a:rPr lang="en-US" dirty="0">
                <a:latin typeface="+mn-lt"/>
              </a:rPr>
              <a:t>PRESENT STATE OF CONTROL BASE SELECTION</a:t>
            </a:r>
          </a:p>
        </p:txBody>
      </p:sp>
      <p:cxnSp>
        <p:nvCxnSpPr>
          <p:cNvPr id="17" name="Straight Connector 16"/>
          <p:cNvCxnSpPr>
            <a:stCxn id="18" idx="6"/>
          </p:cNvCxnSpPr>
          <p:nvPr/>
        </p:nvCxnSpPr>
        <p:spPr>
          <a:xfrm flipV="1">
            <a:off x="2130061" y="2610094"/>
            <a:ext cx="37922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14" idx="2"/>
          </p:cNvCxnSpPr>
          <p:nvPr/>
        </p:nvCxnSpPr>
        <p:spPr>
          <a:xfrm flipH="1">
            <a:off x="4104167" y="2025503"/>
            <a:ext cx="467832" cy="2616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9" idx="6"/>
          </p:cNvCxnSpPr>
          <p:nvPr/>
        </p:nvCxnSpPr>
        <p:spPr>
          <a:xfrm flipV="1">
            <a:off x="2509289" y="3327915"/>
            <a:ext cx="584785" cy="1347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6573879" y="1658775"/>
            <a:ext cx="2172578" cy="214526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/>
              <a:t>Identified Issues:</a:t>
            </a:r>
          </a:p>
          <a:p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No true control grou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Bias due to overlap of test and control (campaign control  for one may be test at the same time for different  campaig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True efficacy and campaign uplift measurement is impossible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584790" y="634011"/>
            <a:ext cx="5879221" cy="4193020"/>
            <a:chOff x="584790" y="634011"/>
            <a:chExt cx="5879221" cy="4193020"/>
          </a:xfrm>
        </p:grpSpPr>
        <p:graphicFrame>
          <p:nvGraphicFramePr>
            <p:cNvPr id="4" name="Diagram 3"/>
            <p:cNvGraphicFramePr/>
            <p:nvPr>
              <p:extLst>
                <p:ext uri="{D42A27DB-BD31-4B8C-83A1-F6EECF244321}">
                  <p14:modId xmlns:p14="http://schemas.microsoft.com/office/powerpoint/2010/main" val="1820056377"/>
                </p:ext>
              </p:extLst>
            </p:nvPr>
          </p:nvGraphicFramePr>
          <p:xfrm>
            <a:off x="584790" y="1828800"/>
            <a:ext cx="5600411" cy="299823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9" r:lo="rId10" r:qs="rId11" r:cs="rId12"/>
            </a:graphicData>
          </a:graphic>
        </p:graphicFrame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2509289" y="634011"/>
              <a:ext cx="1733108" cy="942400"/>
            </a:xfrm>
            <a:prstGeom prst="rect">
              <a:avLst/>
            </a:prstGeom>
          </p:spPr>
        </p:pic>
        <p:sp>
          <p:nvSpPr>
            <p:cNvPr id="6" name="Arrow: Down 5"/>
            <p:cNvSpPr/>
            <p:nvPr/>
          </p:nvSpPr>
          <p:spPr>
            <a:xfrm>
              <a:off x="3094074" y="1470166"/>
              <a:ext cx="484632" cy="377219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4571999" y="882499"/>
              <a:ext cx="1892012" cy="272415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000" dirty="0"/>
                <a:t>Marketing Communications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681867" y="3001924"/>
              <a:ext cx="1782144" cy="272415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00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dirty="0"/>
                <a:t>Marketing Filters</a:t>
              </a:r>
            </a:p>
          </p:txBody>
        </p:sp>
        <p:sp>
          <p:nvSpPr>
            <p:cNvPr id="14" name="Oval 13"/>
            <p:cNvSpPr/>
            <p:nvPr/>
          </p:nvSpPr>
          <p:spPr>
            <a:xfrm>
              <a:off x="4571999" y="1828800"/>
              <a:ext cx="808075" cy="393405"/>
            </a:xfrm>
            <a:prstGeom prst="ellipse">
              <a:avLst/>
            </a:prstGeom>
            <a:ln>
              <a:solidFill>
                <a:srgbClr val="0070C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Control 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1321986" y="2413392"/>
              <a:ext cx="808075" cy="393405"/>
            </a:xfrm>
            <a:prstGeom prst="ellipse">
              <a:avLst/>
            </a:prstGeom>
            <a:ln>
              <a:solidFill>
                <a:srgbClr val="0070C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Control </a:t>
              </a:r>
            </a:p>
          </p:txBody>
        </p:sp>
        <p:sp>
          <p:nvSpPr>
            <p:cNvPr id="19" name="Oval 18"/>
            <p:cNvSpPr/>
            <p:nvPr/>
          </p:nvSpPr>
          <p:spPr>
            <a:xfrm>
              <a:off x="1726024" y="3257109"/>
              <a:ext cx="783265" cy="411126"/>
            </a:xfrm>
            <a:prstGeom prst="ellipse">
              <a:avLst/>
            </a:prstGeom>
            <a:ln>
              <a:solidFill>
                <a:srgbClr val="0070C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Control 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4717304" y="4419599"/>
              <a:ext cx="1746707" cy="272415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000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dirty="0"/>
                <a:t>Measurement Metric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6447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847528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8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64147"/>
          </a:xfrm>
        </p:spPr>
        <p:txBody>
          <a:bodyPr lIns="0" tIns="0" rIns="0" bIns="45716"/>
          <a:lstStyle/>
          <a:p>
            <a:r>
              <a:rPr lang="en-US" dirty="0">
                <a:latin typeface="+mn-lt"/>
              </a:rPr>
              <a:t>SOUTION: CREATE GLOBAL CONTROL BASE</a:t>
            </a:r>
          </a:p>
        </p:txBody>
      </p:sp>
      <p:sp>
        <p:nvSpPr>
          <p:cNvPr id="5" name="AutoShape 9" descr="data:image/png;base64,iVBORw0KGgoAAAANSUhEUgAAArwAAAGwCAMAAAB8TkaXAAACXlBMVEUAAAAg/QAn/AAr+wAv+gAy+gA6+AA++ABB9wBF9gBG+ABM9QBQ9ABU8wBX8wBd8QBf8QBh8ABi8ABj8ABm7gBm7wBn7wBo7gBq7QBr7QBs7ABs7QBw6wBx6wBy6wBz6gB16QB55wB56AB65wB85wB95gB/5AB/5QCA5ACB5ACC4wCE4gCG4QCH4ACI4ACJ3wCK3gCM3gCN3QCO3ACO3QCP2wCQ2wCS2gCT2QCT2gCU2QCV2ACW1wCW2ACY1gCZ1QCZ1gCa1ACb1QCc1ACd0wCe0gCf0gCg0QCh0ACi0ACjzwCkzgClzQCmzQCoygCoywCpygCqyQCsxwCtxwCuxgCvxQCxwwCxxACywgCzwQC1wAC2vgC2vwC3vgC5vAC6uwC7ugC9uAC+twC/tgDAtQDBtADCsgDCswDEsADEsQDFrwDGrwDHrQDIqwDIrADJqwDKqQDLpwDLqADMpwDNpQDOpADPogDPowDQoQDRoADSngDSnwDTnQDUmwDUnADVmgDWmADXlgDXlwDYlgDZkwDZlADakgDbkQDcjgDcjwDdjADdjQDeiwDfiQDfigDgiADhhQDhhgDigwDihADjgQDkfwDkgADlfgDmewDmfADneQDnegDodwDpdQDpdgDqcgDqdADrbwDrcQDr6+vsbgDtawDtbADuaADuagDvZQDvZgDwYgDwZADxXwDxYADyXADyXQDzVwDzWQD0VQD0VgD1UAD1UgD2TQD2TwD3RwD3SQD3SgD4RQD5PAD5PgD5QAD6NQD6OQD7MAD7MwD8KgD8LgD9JQD9JwD/AAD///9teKjPAAAACXBIWXMAAA7DAAAOwwHHb6hkAAAgAElEQVR4nO3dh78kx1EH8CLnZDBwYAPvgQ8Mwod1AiGOO4x4GETOGYwBEUXOOeecc1xyzjlHvf+KnZw6VHdVT3fP/sofyXfvtqe2d76qq+kJS7cIRKVBud8AAhEbwIuoNoAXUW0AL6LaAF5EtQG8iGpjhvekHgk2WUAqTCt3KuCtIhemZRwOvDXkwrSMw4G3hlyYlnE48NaQC9MyDgfeGnJhWsbhwFtDLkzLOBx4a8iFaRmHb/EiEHUFKm/RuTAt43DgrSEXpmUcDrw15MK0jMOBt4ZcmJZxOPDWkAvTMg4H3hpyYVrG4cBbQy5MyzgceHfNRUR7pYqNevYW8O6bi+7di+Fb+rTypALefXOd8d4DXqVUwLtvLuBVTAW8++YCXsVUWngJwYt7UXqB1zhcBy/RlSDoxUPQdeaglylFq9QSwKuTCngT4XXpBV6dVIptA/AC776pdPASifQeE69LLwUu9gKvcbgC3vZARNI5XBzeATCNH5/HMvAah8vx9h898K7wuu0O/UNv3OMXeI3DdSpvKxh4Q/Hem5Vn4A0fHo53+yETet5IvKs2ItVeDooj4zV/yKi8UryNX8uHC7yW4RGV96xt8xGTRC/wjngX7cP0S+A1Do/Ce9X5XX3OwCvEe687eTx8rDRBBl7j8PC2YTJ3NZyw7/66A14p3sFwt3pzr19PC14VlsWR8RqMjh8x8GrpXa0S7yn4wvCONRh4dfCaPMfdghERh8Zrbg90Dtiy61XEq6t3v9bh4Hg3SmVdwxxvbr1l4t216T023q1eTbx59WriVdLbyMVqg3F4DN5N4yC8MmeON3PtLQ5vV3OB1zhcAW9Tc4HXhFesd2gXgNc4fIuXEUunRLLjtcPiFZdePPKbFYFXla3wtnw1TlIAr6HsmktUsrMXGSpv5DwU8E6n2XTwZtVbEN75Dt3slPPn/fDhUfDSnTvDGfGgCcXiXeiVnaLY4M2ptxy8i7243ilnuY3dgB3Nj3x4z4ZGxqzhcXiNpVcNb8b1smLwLvfhcqf0ZZe/l4Nid7xnsXc6QXfutL9kD1fDG03XgDdf8S0F72oHLnYKdXWXu4tDY2+8Hdl5cKcWi3feOEjtmvDm0lsI3vXuu1188knt7o13a5ddewV453wldM14M+ktAa/hqOV2/rEn7HcXudLHrdEuu/RK8MrEevFm0auLN+6KdJp9xtNe7n/ysAv7HUPi2BWv0e4OeNXsmvHmKb35Ky9Nq0Y3NxPe7sDi4RA0rJUFg/GT0N+kNZXZbnq80l7BizeL3tx4J7o355gq78xth3dEbN1BsbIvAa9i32DBm6NzyIx3vCflpo1ZA/HQEuZbYfvCzDS0IhE1KiosduvveTu9tDPgvHjbTuFmjL54kp3uWu/ypcBrTbwD3v2bh7wHbDO4nd4OsINuT5T6XbL9k/AAXjW8VVdeKd6hALvxNrxXx3NjUV4+oIBHIuzlkjg83l3tFon3zNdde1uoD03GO9KlPk7VZneXnleL73HxBuoV4HXCDiK1G16r3T0qr/iaBgbevRccysR7Y+wKKsdrt7sfXgW+ZNcLvEvCcXiD9F4C3rPep89x/recrwPvvnbV8Ybp9eC94Sw+DF6j9V4G3qeHCMXbF+ypcANvZ9ePd2gh/I3CeAI5VO8l4KUJL7P2jl77MePgktoG9Qigy7Lb8rVV4CHpsI/6C3hmP2KQYL9SFqXg9dfezux8yCKKKb30EuVg4+XKnRFedAnN/zaHZgV/wzxlxfs0F+9YbB1hq767tw3adrl4g+0uDt+60xSmCx1CPPUkwofEhMPurj3vCi/N1F4x4DqKb9c17ChYGS/fbjjeWe1t24Jta2D07CcROiAqXIU3E96upR3arKcdjYKh9toqL+3Y+eriDWh4I+yOepvDM9Nd4zTI5ps67YTXaZd7H5AWXuqq7OwHbLWu0ksd3v26h2x4o/ROeE+Gb2madRXcfdqSCHlxZDjpdnwZ71npgK3TF+zVZ7dVS3suOmi3DWy9UbXXvQ62vO+CDWsHvF67vOKrVHkVwnY7Be164Jar543E6yyry9U0Nt/0eMndNLDbXqXVhmR291510F8qS7fc0C842OrueimYW31T423ockov452WUnmPipfbOcQdsd30eA0Ha8YLJDn7NSXe/kjeTzd15VXF67G7m97K8I52V/uaTsYTyPnxnj9hhtxWr/8/tVLaBi/enfRWhveGzHYteFl6y8Hre7eF4PXb3UlvbXhvyHCTO9nwsvqGhHjbhU8mXkbrYMDLjILwSq+dmUdleOm84+hmsffodnOsNuIN3stsDbwIw3uH+X6rrrz0hmpRGd62abiZV6jWrRUvZ8fGVF6iB+sw7a4wvN6+oQy8HLvNiQqL34vF2/cMi31MD8erePdqGwx0jXi7C1UOhtdxPe9Sr6H6Nn8VXSrexu7Nzc3SrgtvmgM2E1073iC9nncai1dxpYxH19w6tKCPgDdGL3V2l12DWW06vMayq4B3cxhqeKf5K2+AXQPeFx8Fb8TV6N3j+DZNw654LXSleDfdkPGdRldeLbtBeAe90/Fr204cAm/AfUA93u5JksvdsjNeq91wvDT+mwO3fafV4R3NTj87CN64CyPrwUsuvM1OvTNUJGby/D1vkN0Xk+ng7jB4w6uv6XBtR7y2hteEd7is1fYw9J7tLniV7IbqNYo+Dt57wb1vUMurjNdOd423P0PhwdttlJ2+BLzGagq8EXi9j5NkkWDjcdld45390mzXcImG953mx/u0uPgeDG9Q50ABeJkkmAAcLUNjNxxvcBSBF5V3zTfSLguvd/WUCcBFd9PyevDu+sXZwJsSbwBfdsc7HAf574ZXqrzGgzWj3pAFhuU7LQEv2oZovXy8vbgOspMEE0AQ3msrXmIv627faSTekuweES9Xbxjeoa/YAe9SrwVv2LLu9p0Cb5l4mYsO3FMUtPhzHbz8ppeMeEVw23cKvMfB66m8s2vNXGbYF7cE4L024D3DvQXeQ+LlPqt3sVNceBd3BqXHOy+265WHcXVMeMcR8BaKl1d5Qy5s4H69oBbekez6cUc0NA2Z8O5963C1eJn3dplCG++qibCTYAHwHa/N+ob1VQ40npYA3sLxcp4Zb36qccF4vXILxqv7wJEj431J/JfNMPCuH9egj3f+V8Hsp366Hrzd1vLgVbULvLF6N0+T1sW7bA1mjDl27XgbvbRKFRXAmxpvytLreCRvvN4Z3jVHFlrgPQze+NIb3jb4L0aX4Q0LB96hBcmBV9nuofFGV17OAduWYBV4r4E3DV5JqBbeqMqrjFekl6x2r2mTKiqAd4X38fgw8q0Zr6z0WvFO6xYZ8CovlB0Gb+t3Oi+xA97oIzbuUplErxnv+YN5JideVF5n9Z1+RaKVsrgjNlW8or5h0VFNdp95JjPeA682CPGuIJNgpYxzzBaHl5wXc6kdsD0zi1Fx95tNqqjAUlk6vI1fUen1843CS0y8inZXkW61gRHAu5/eVdy03wE0xmbPcPCy9jb3RFoE3u3blgUqbxq8j4v6hjPeV6zibGr+u/WOYXUNnnrWbkhI14GXsq42AG+QXhHeK9rwfYUQr/eptydpx+AuvLRMJQjgLRyvofja7TLwMh4cqmHXhZfmqSQBvKnxivW6am/4NZH+m8ZuxR2DDy9WGy4Gr0tv+MXoPrxnWU+mxTvrHHAnRfF4EzYOAU8q43UNjV0NvE67nd5mrSQebhOReBdX2OePovGm1TvfJ2K8jdxzhH78JryWmLW9zW8Fck8CvM8GBL2rLHzffVk43r26Xk7H6+BCPd3wMOill22CHnvssYVew9d9h0Vs2xBiF3iTFd4ZXs516FYsTRW8fz8a77b4WvA+RrO+Qaw3Fi8q7356nUu9NO4RY3DwtnCbiMXb8A3FG/YAf1W8YXovHa/2WbbtIduZwVOm2GA27sv796V4N52DDW/XODT/av8R2RU84hR4d8LrtNueL7bRPeO9P4+mM9j6nV6THi/Rufa2B26O/5iAtyS8orbBfX74jNfi1oC3E7oiM3tJcrzU4G3y9+8BlbcCvNF6yUc3HO+ot69993XwErPydtkz3oAJvLvgZciNw3t/rVaOd73isMXbFt1hfQGVtya8MXo5dCPw2kOC90k73ulocfhKFwLeivDGlF6e3XLwPjfnS0u2tIA6M5wFL5bK0uOtqvISPffcxJeoo+vTJ7KL08Pl4mXW3lLwPtdGx5f6ojsUOhtiHLC58ZpOO40/X74GeIWFd+I78+o6PwK83bcy28L6+tlA/2bkeJMdsRWBd6Tb8n3QtbiLT9CsLw/eotoGs+iYQbZtZSm9vKa3DLxzvSPYvv1tMReEt6yryirAe/DVho3dcdWBHtjKLvACbwl454V3UXOtDQPw7oU3T89bE96F3eYJ6u5eNyveMLvV41XpeYOCeWpYFS9F30kxr7wTWsYZCOBNj1dj/YzoCX4Qt+yqVt54vFPtpen6BY4+gdwT8O6G9/EQvE+w626BeANO+QJvJXgD9VaG98l548DXFw+3HQ68u+EN0Mu3WwzemV6+vni47fDI1YaLOkmhdM64cLx0LbwkMthutjNsJZ0eTo13f73AyxoeibeoaxuANz/e2ZU5Afri0I7Dt3h5EVJ668erFuXiJRHe+fFaKCVxBFfekMahfrzrB8LEBj3B9MvXq4b3WoB3cYotoHRGFdxpeDTegMYBeCe9vOqbYZ03Em//N8oMb4i+CLHz4fF4+XqBd8G3yMrbfFwReImef355MS/wHhcvt+1l69XCS3Gt/fOLS3nDCi/w1oaXZ5evVwfv+pYTetQGUfMPtawfmWKNN+x+YOC1gdNQO2xrf7tsvUp41zMe8NLA2oD3DHqFN/BeduC1gROCXWxLDS+7bWAftGng3d7qR53c9pfdH25Lb/vIsRXeQH2BWtfDgZezLT286nrFeGlTdq9bvE230P265bvG2xbltvJGXZPT6QvUuh4OvJxtKeJV7hysTzfl4iXjJ0WPZt/Ufn7P12u9NOCd6w19AA7w2sDFSjVtKxNehl6nXT9eMj8c4Hr24+5BDNftrZQzuqf2d2e8k97ghzdlxMvWC7wLvPyzxDvg9X96/UNw2hvTFngfDXjbRzQE9wwn4LWDixlk25Ym3gch62U+vZ6uoQ1n4WVPfoH30aLythZiHpoHvLbPPGaQe/9lwCurvP1qgVWutfBa5j6t9i7bhsZCeNMAvPYPPWYQYwfuiveslzzV16V3WKK1Hqp5Ky+tHnk+nK2Y432++0rAGH0RY+bDJXj30nvJeMnTPDj7hmGJ1tYyeD8j09cD9mfd5nhjH7ObF+8+ei8Yr797cOCl8fyC8SH+jI/QhHcsvCPeaL1Z8e6k99LxOvsG6xewPbX4BBq91BVcYuKldc9gxft8lXj36RyAN7jw0uYDGK6vGbuImJ5hXHFol8ceSUtvLXifpXi+wBvc8lpmPzyV2LNK1p8Pttvt8M6a3jrxBtwOFK33wvHGdLzu2ZOn8FJzPthhl2hVeSP7hux4dzhNfNl4nWsNzlUGx4Tci2TtQ3WNeMdLfGl+0WS1lXeH2nvheKM6XsmHY59ufzlOv1Q2O2cRqS9u2DhcAW/yWzGBN6jh9Z96iMb7oKvJzTVn3XdOHABvq5dFOOqw7Wh4tVrejd1WM+t6BcFspz6B5i1wlL64YeNwtcrbTChR8b1svHa9a7zU4WXMx93w+t7+Wm+dZ9j6aNUSt/kN13vheG16N11Ds5DLwuv8cDiTHQ7RDoGX2srLoRvTOlw63ifMF+e0dmmsuk8Nd6/LPh3jKsMSbvuvYc/HrzWUgffUz4KJN7j4Xjxes95BDrV9LlPtMCPri/1zpYkvub+qyqsvdmA/XAlvX37T6AXeJ8jQO3QnfK+nOyQVPh5v3e30Pphq71HwptILvK1fE97oudruXeNNYPxWS0HPcCoLb8hDe0P0Aq9Jb1il3c7J+EPmTKcDNutXs7L0CcaeVPEGHLIF6gVeI17hnIz4Q/E+OAreZHqB14RXqtfUOTC7hgfD8ZrMbrYno28jnV7g3erlrom5ZrXaguViHMP7776f9bzLH2R4Dvo25JU39PutAvQC7xqvXO74IJzhd+2iF3cC/RqDrOMtqG2IwMvVC7ydXVLrGPo5TU/S4xbd9u33J4jjntWw0CccnhUvU2/crlLUWxDe7nSFQsfQzal/jFPIBKezagfCm04v8E562yopX2qYUQx/+12LEfmshoU+4XBNvKn0Au+od7yXXTQd6XxGvTJ8JeFNppfUImgXz/e2bkjxykJsd+h5xVES3sBTxGy99MqYoJeu4vyDSGxXuhGNt/GrgFdqd35Jr0yfcLgq3lNU9fXqVcIbGNpkVfDKSy/JC++DoXE4UtvQRoIVM+DVxKtAdyQstHIEvD69wKuFV6fsHhVv1DGbTy/wjnRpKdETPrkkxHygdd4m4ux69ALvQHeJl1NoPbpdf9jxnEPfhlCfcHgheJ16o/BK7TJWJqLxBseEdx6iDqLn7Xmb05s1v0CoTzi8FLyu2zIz4b3riXi8LwqMAa+C1gC8/nkcDK9Ar734Am8iu7F/ewyjpHqLw5tA79HwButNhjf2/Q90D4Y3hd5Lx9v1vOXY7fAqHLEVh1dRb/fxZFpsKAdvvzihi1d2xDk76BTpk0lLgFdPb6v2/PlcNt7BruZVciQ9UrsaH5kj0ieDlgKv5KBtoTdO7eHwKq6M9XQFRbd7/6f+PgqS6S0Sbwl6S8Ybvt7QGFazK4Lbvv35ErBEn8xZErxqeoFX366sYVgZvpLpLRKvqHGY6QVebbvShsGAV6JPpiwVXh29wKuMV/W6+q5zEOmTKUuEV6n2Aq8iXtLsGIZ5HG2dtw8NvcCrZrf9K14H7HDJzvFOD49BCkdtwNvT1bCrFdNlZse7DWgKhdor0Au8c7tqdK/mV3RKhRwVb6cXeDu94sKrR/fqql8fU7j3vWS8cr3Aq4DXeEJNeIpN4aENp6LxKugF3g6v7AE5Bnub4L/1C8ErbByejb0m52h4pbcMb+W+YBUBeocTwxo+ynm4tCGEeJ/FakNnVzXWcHu+/Pc+RBIyMVFk5QXeDu9bG4Pe3hr0clvY7Mbolfsou23IqPcweCkcr1WvlW4I3l6wgo+y8QrtAm/TM5jtquNlHL5Rd0GD8FqyKY6NV6D3MHgtdmPw2puGjWTz2ybFnuF0eLzxeoFXotfcRUy3/+hE2Xgzlt4d8O5xH5DVbhReoV61kttH0XiH77Q/Jt5ebwzhbHhfbl8s8+tVpls83i6JhHCs3h3w3nUf3ijgtR+uxeJ1H7U58WrTrQRv+++d9e6B96z3LsX0vmy8VrpuvE697KO21XtOBSN++H54Y4/fin1uwyg4FV5X3RXgjdQLvAervFPz0PS+ASepmHhj7ergXehNYLcqvDF3V0Rfm7Mf3gHwFb//zYs3Rq9+w3uqDG/46kP8dWX74m0B32Uvn7HwOu3K8IbrTWG3NrxthOCNtZsBb1+CxxsdV5Bp9qPkeLVK7wvGueizqBMvX2/R1zZY8DYrEGMXMe77Lu72P+HhddmV4Q2pvYqng70wAodnwstsHerD26yedUto0yIw0WxbbLzuwivEy9Wbiq0FRuDwPHi5ja/gVopceBeI+6WI1R8QB697nUyMl9c5JKVbKd42OHorrLxbxQbXBeDl6E1Lt2q8jOJbceV1g25D0jUo4PXqTVx3a8bLqb1HqLx2wXnx+mtvartV4/Ve7lD2PWyp8YraBgW9ye3WjdejV3Ln+wHwiuyK8aZdZ/DB4A3Pi9et96Lxys5RMPE672nThxAAgzU8M1533wu8afG69epDCIHBGZ4br1PvJePdo21wNQ6ovH0S1x+m6htqxys7O8zFa629e9g9Nt4KL8wJwesOp101vGa9u9A9AN5UXW8FeF/oCg9fL15J6d3Jbv14L7jyOvG+UNg28EvvRu5edg+A16H34D2vB+8+ldeEV59ABAzG8Ox4TXqnxg94Y+3y+4ZMPcPpQHjnxyrDn8TTBd64pnfHnuF0BLwn66X6wCvDG6yXmjMTCQDYougnowvj6KeHE+Nld71t50Bt2c29y6MiZ+V1xFGv5+XgdS43pMEr3FvBcYC2wRnRB23143XpTYB3aN2Ad5lENjzOb/14XX0DD2/Iatl41AG8yyTiLUT4rR6v8xSb5gFbv1oGvOYkGhsJ5XsAvMKel2335YvlHuBdJtHZTNhJi/rxOuwq4235Ku8tTlwQ3ib4fO14PVdzjZEcr1Ov9OxwKN4Ue8sXF4aXz9eBN7VKbrj0Sq9Fj7YLvKskupvj8SVHoc2tdohy8KbbW664QLy8xYcJr2l8brZd2PFKb3wPw0vAa0+iv0m/Xxfe8/Dcbtuw4vXdR6G92pB6b1niUvGefO0D8PKXeYHXkUR/k124+LrxlqHXesTmswu87fCq8bq6Bx/eMvSWgHd1OSrwLpPob3IW3vVa67DcdO/a9Hq7Bt2L0YHXlUR/kxqpCtBr6Rt2xhv/EQoDeONT5cdr0eu1q4h38zdTqXvLMPyS8RZRe4E3fvhF4y2g+KbEG6e34L21Hg68JeI1hRmv81AVlVceJX8cufV67wUyV+MJ77U9gFchiv448up1XxZp7yRoLLwSvM0LNiuJRe+t5fCLx5v3qC2y8LZ4iXyV1/c1mNdNa4HK606iv0nVVBn5ivE6a6+nAabuJRofYVwAr0KqbHrZdg14G5Bd10vO5sEuuRsFvO4k+ptUTlUB3s0BG516uy3LgSdD8fBS4GUl0d+kcqry8U56219MeLvKOwVTb3M4B7ycJPqb1E6VSS8LL3VLEtS6XVxwRNNCbzuJMLz9a3GSwp1Ef5PaqQrG2yod8PbQqPvn3PSuDrgakVzAw8uA15lEf5PqqfLo5SzztlDbU2wrZZbrPUOqL/D6k+hvUj1VsXhbn7dDn8B58nNQ8wC8viT6m1RPlQkvt22YNbqMuSz1+lrhI+G9zCgXb3fERnTbNr68ySztbn60wpv0g90hUHnLtTsAbvFyp0OTXVr9xFN6a9hb/XDg7cJ6ko30T78NGzR2vLY2uLMbirftOZY/At6wJPqb1E9lITp2nHe1EE//NdB44e68vs5/vwHMno3hugXgjUqiv0n9VEaa0yFSB1iFLq233Wx90nn+x3ZbZsBsDId31tKL5za4kuhvMkEqA83N3tfA2ydaL9rOgFruygz6hjTzc4I4pbeOvdUOB94xtjTXAjTw2r53br4WZmwcFL7cD3gjkuhvMkmqdWXdCNPoHOjEKKFrvd1imWRu/WaBNziJ/ibTpFrZNJ17VcHLeiu0whvYN1i26tdbzd4C3mUs9Rq/UlaOl/teOrZ9J9zxlc2u3SrwBibR32SyVLPOwFzohJ0D3x+Ni2fDYRz39LB7fsAblkR/kwlTefDKam+Avr7WztpdldbBfJ0DvpPCmkR/kylT9cXXpkRSegPpUV9y+2mplF5z8QVeaxL9TaZN1Z1Qs/6pAG/kG+qnRebl29Aw4cVXWdmS6G8ycSp3iYvWG01vqLzJ8F4Dry2J/iazporEK/grX3lazr6hnr0FvBER1/VKimZ6vJPeevYW8MYEG2/TO7dXQAqPtHaovMBrSaK/ybyp+JU36PYde6DyGocDb0wElF7yHP2xAniNw4E3JphdL/V4xfmA1zgceKOChVenZWgCeI3DgTcq+HhVlmZ1p+W+vqGevQW8ccHqG1SKbhvKeE12gdeSRH+T2VP58eo0DF0Ar3E48EaGr/Zq2t0F76C3nr0FvNHhxqsHtwngNQ4H3thwl96C8doeggq8xiT6mywg1Z6lVxev7cl7pJ/LHcCbK9XJ/nA+pdXdWSrNjQFvUBL9TRaQqnlorl2vcirVrTWLz/aut569BbySXPbGQVkv8BqHA68kl+PZktqpVMP16Jx69hbwCnPZHi6ZIJVe2B+5p5/LFfp4ESFheMBZe/F57vflDDve3O8sKlB5I3OZni3Z/C9BKr04buXVeV+LJPqbLCCVHa/yOtlpv5630VvP3gJeYS7DIRvwcgN4c6UaHqaww/Ga/rQcfUM9ewt4pblMeIuvvHa8VNHeAl5hLuNKbwV47Xrr2VvAK81lxJsmlWZYvxYTeFdJ9DdZQKoBr2m9IU0q1bB9pSvwrpLob7KAVEMu4I0O4M2VyoG3/NWGJoCXlUR/kwWkGnPtUHqB1zgceMW5TOcpEqVSDeBlJdHfZAGpplyV4jXrBd5VEv1NFpBqhnejtw685sc+1bO3gFchl+FLtcu+qmwM04N669lbwKuUC3gjAnhzpVrlWlbfwm8DGgJ4/Un0N1lAqm2uhd60qZRiixfXNqyT6G+ygFSGXMMDedVL7454K9pbwKufC3i5Aby5Ujlyqd9LkWxamyscgHedRH+TBaQ6yLSWenEx+iaJ/iYLSHWYaRHwupLob7KAVIeZ1gJvTdMC3ipypU1F88Jb0bSAt4pcifHSrPBWNC3grSJX4lTA60iiv8kCUh1oWmPpBd5tEv1NFpDqQNMa7iQm4N0m0d9kAakONK0Ob39mpZ5pAW8VuZL3vLMvSa5nWsBbRa7UqeZns+uZlgEvAlFXoPIWnQvTMg4H3hpyYVrG4cBbQy5MyzgceGvIhWkZhwNvDbkwLeNw4K0hF6ZlHA68NeTCtIzDgbeGXJiWcTjw1pAL0zIOB94acmFaxuHAW0MuTMs4HHhryIVpGYcDbw25MC3jcOCtIRemZRy+xYtA1BXAi6g2gBdRbQAvotoAXkS1AbyIagN4EdUG8CKqDeBFVBvAi6g2gBdRbQAvotoAXkS1AbyIagN4EdUG8CKqDeBFVBvAi6g2gBdRbQAvotoAXkS1AbyIagN4EdUG8CKqDeBFVBvAi6g2gDcgXqOP13yt136d132913+DN3rjN3nTN3vzt3jLt3qbt327F73DO67uLnIAAAKwSURBVL7T9Tu/y0ve7aXv/h6Pvee997q9/97v877v9+D9H33AB37QB7/yQz70wz78Iz7yoz/qYz724z7+Ez7xkz/pUz710z7j0z/zs171qs9+9as/53M/79kv+Pwv+sIv/pLbL/vSL/+Kr/rKr/6ar/36r/uGb/zmb/qWb/vWb/+O7/rO7/7e7/m+7//BH/jhH/qRH/vRH//Jn/jpn/qZn/vZn//FX/jlX/qVX/vV37j9rd/87d/9nd//vT/8gz/+oz/9kz//s7/8i7/+q7/9m7//u3/6x3/453/713/5j3//r//8n//+v/9tI/fnpx3AGxDAW1YAb0CE4H08Au9zEXh/HXgRnADesgJ4AwJ4ywrgDQjgLSuANyCAt6wA3oAA3rICeAMCS2VlxYXhJf+MHS8B3rLi8vAqvARRRlzYrgLeI8UhdxXdEjV/+1M7O5r+f+gJ+h/R8JJx4OYl4/8jyotD7phOZsezm+Eocvmj/iXjOMNLbm8P+iEdIA65X2j+L+P/3xplzl5C8x8hyoxD7pwlXur+5l8iXvxoPW4s3Af9fI4Sh9w528q7+v2qo1iP692umgpEaXHInePDa2tobZ0Fosw45M6x9ryzozFb2yA7YJuWJmZLHHuMOeiedMchp7zAa1kqM8qULpVNjcasMfEMVxkz9ugXFRc45YSxdMfrOoxj2HiH3wEvQhgGiF5UOnjpEvfkBU55E0TDcpp4S7ezT3TRWfPGjAscoWOAFyGNLd7b8CoaOeYC9+QFTjlhLCri+geMMfF4L/ISjMubccqYoaL1D/xjRKsNl7gnL3DKKWO4Wm0shew129mLY8Zc5J68wCkjjhLAi6g2gBdRbQAvotoAXkS1AbyIagN4EdUG8CKqDeBFVBvAi6g2gBdRbQAvotoAXkS1AbyIauP/AebmRmdNsVePAAAAAElFTkSuQmCC"/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11" descr="data:image/png;base64,iVBORw0KGgoAAAANSUhEUgAAArwAAAGwCAMAAAB8TkaXAAACXlBMVEUAAAAg/QAn/AAr+wAv+gAy+gA6+AA++ABB9wBF9gBG+ABM9QBQ9ABU8wBX8wBd8QBf8QBh8ABi8ABj8ABm7gBm7wBn7wBo7gBq7QBr7QBs7ABs7QBw6wBx6wBy6wBz6gB16QB55wB56AB65wB85wB95gB/5AB/5QCA5ACB5ACC4wCE4gCG4QCH4ACI4ACJ3wCK3gCM3gCN3QCO3ACO3QCP2wCQ2wCS2gCT2QCT2gCU2QCV2ACW1wCW2ACY1gCZ1QCZ1gCa1ACb1QCc1ACd0wCe0gCf0gCg0QCh0ACi0ACjzwCkzgClzQCmzQCoygCoywCpygCqyQCsxwCtxwCuxgCvxQCxwwCxxACywgCzwQC1wAC2vgC2vwC3vgC5vAC6uwC7ugC9uAC+twC/tgDAtQDBtADCsgDCswDEsADEsQDFrwDGrwDHrQDIqwDIrADJqwDKqQDLpwDLqADMpwDNpQDOpADPogDPowDQoQDRoADSngDSnwDTnQDUmwDUnADVmgDWmADXlgDXlwDYlgDZkwDZlADakgDbkQDcjgDcjwDdjADdjQDeiwDfiQDfigDgiADhhQDhhgDigwDihADjgQDkfwDkgADlfgDmewDmfADneQDnegDodwDpdQDpdgDqcgDqdADrbwDrcQDr6+vsbgDtawDtbADuaADuagDvZQDvZgDwYgDwZADxXwDxYADyXADyXQDzVwDzWQD0VQD0VgD1UAD1UgD2TQD2TwD3RwD3SQD3SgD4RQD5PAD5PgD5QAD6NQD6OQD7MAD7MwD8KgD8LgD9JQD9JwD/AAD///9teKjPAAAACXBIWXMAAA7DAAAOwwHHb6hkAAAgAElEQVR4nO3dh78kx1EH8CLnZDBwYAPvgQ8Mwod1AiGOO4x4GETOGYwBEUXOOeecc1xyzjlHvf+KnZw6VHdVT3fP/sofyXfvtqe2d76qq+kJS7cIRKVBud8AAhEbwIuoNoAXUW0AL6LaAF5EtQG8iGpjhvekHgk2WUAqTCt3KuCtIhemZRwOvDXkwrSMw4G3hlyYlnE48NaQC9MyDgfeGnJhWsbhwFtDLkzLOBx4a8iFaRmHb/EiEHUFKm/RuTAt43DgrSEXpmUcDrw15MK0jMOBt4ZcmJZxOPDWkAvTMg4H3hpyYVrG4cBbQy5MyzgceHfNRUR7pYqNevYW8O6bi+7di+Fb+rTypALefXOd8d4DXqVUwLtvLuBVTAW8++YCXsVUWngJwYt7UXqB1zhcBy/RlSDoxUPQdeaglylFq9QSwKuTCngT4XXpBV6dVIptA/AC776pdPASifQeE69LLwUu9gKvcbgC3vZARNI5XBzeATCNH5/HMvAah8vx9h898K7wuu0O/UNv3OMXeI3DdSpvKxh4Q/Hem5Vn4A0fHo53+yETet5IvKs2ItVeDooj4zV/yKi8UryNX8uHC7yW4RGV96xt8xGTRC/wjngX7cP0S+A1Do/Ce9X5XX3OwCvEe687eTx8rDRBBl7j8PC2YTJ3NZyw7/66A14p3sFwt3pzr19PC14VlsWR8RqMjh8x8GrpXa0S7yn4wvCONRh4dfCaPMfdghERh8Zrbg90Dtiy61XEq6t3v9bh4Hg3SmVdwxxvbr1l4t216T023q1eTbx59WriVdLbyMVqg3F4DN5N4yC8MmeON3PtLQ5vV3OB1zhcAW9Tc4HXhFesd2gXgNc4fIuXEUunRLLjtcPiFZdePPKbFYFXla3wtnw1TlIAr6HsmktUsrMXGSpv5DwU8E6n2XTwZtVbEN75Dt3slPPn/fDhUfDSnTvDGfGgCcXiXeiVnaLY4M2ptxy8i7243ilnuY3dgB3Nj3x4z4ZGxqzhcXiNpVcNb8b1smLwLvfhcqf0ZZe/l4Nid7xnsXc6QXfutL9kD1fDG03XgDdf8S0F72oHLnYKdXWXu4tDY2+8Hdl5cKcWi3feOEjtmvDm0lsI3vXuu1188knt7o13a5ddewV453wldM14M+ktAa/hqOV2/rEn7HcXudLHrdEuu/RK8MrEevFm0auLN+6KdJp9xtNe7n/ysAv7HUPi2BWv0e4OeNXsmvHmKb35Ky9Nq0Y3NxPe7sDi4RA0rJUFg/GT0N+kNZXZbnq80l7BizeL3tx4J7o355gq78xth3dEbN1BsbIvAa9i32DBm6NzyIx3vCflpo1ZA/HQEuZbYfvCzDS0IhE1KiosduvveTu9tDPgvHjbTuFmjL54kp3uWu/ypcBrTbwD3v2bh7wHbDO4nd4OsINuT5T6XbL9k/AAXjW8VVdeKd6hALvxNrxXx3NjUV4+oIBHIuzlkjg83l3tFon3zNdde1uoD03GO9KlPk7VZneXnleL73HxBuoV4HXCDiK1G16r3T0qr/iaBgbevRccysR7Y+wKKsdrt7sfXgW+ZNcLvEvCcXiD9F4C3rPep89x/recrwPvvnbV8Ybp9eC94Sw+DF6j9V4G3qeHCMXbF+ypcANvZ9ePd2gh/I3CeAI5VO8l4KUJL7P2jl77MePgktoG9Qigy7Lb8rVV4CHpsI/6C3hmP2KQYL9SFqXg9dfezux8yCKKKb30EuVg4+XKnRFedAnN/zaHZgV/wzxlxfs0F+9YbB1hq767tw3adrl4g+0uDt+60xSmCx1CPPUkwofEhMPurj3vCi/N1F4x4DqKb9c17ChYGS/fbjjeWe1t24Jta2D07CcROiAqXIU3E96upR3arKcdjYKh9toqL+3Y+eriDWh4I+yOepvDM9Nd4zTI5ps67YTXaZd7H5AWXuqq7OwHbLWu0ksd3v26h2x4o/ROeE+Gb2madRXcfdqSCHlxZDjpdnwZ71npgK3TF+zVZ7dVS3suOmi3DWy9UbXXvQ62vO+CDWsHvF67vOKrVHkVwnY7Be164Jar543E6yyry9U0Nt/0eMndNLDbXqXVhmR291510F8qS7fc0C842OrueimYW31T423ockov452WUnmPipfbOcQdsd30eA0Ha8YLJDn7NSXe/kjeTzd15VXF67G7m97K8I52V/uaTsYTyPnxnj9hhtxWr/8/tVLaBi/enfRWhveGzHYteFl6y8Hre7eF4PXb3UlvbXhvyHCTO9nwsvqGhHjbhU8mXkbrYMDLjILwSq+dmUdleOm84+hmsffodnOsNuIN3stsDbwIw3uH+X6rrrz0hmpRGd62abiZV6jWrRUvZ8fGVF6iB+sw7a4wvN6+oQy8HLvNiQqL34vF2/cMi31MD8erePdqGwx0jXi7C1UOhtdxPe9Sr6H6Nn8VXSrexu7Nzc3SrgtvmgM2E1073iC9nncai1dxpYxH19w6tKCPgDdGL3V2l12DWW06vMayq4B3cxhqeKf5K2+AXQPeFx8Fb8TV6N3j+DZNw654LXSleDfdkPGdRldeLbtBeAe90/Fr204cAm/AfUA93u5JksvdsjNeq91wvDT+mwO3fafV4R3NTj87CN64CyPrwUsuvM1OvTNUJGby/D1vkN0Xk+ng7jB4w6uv6XBtR7y2hteEd7is1fYw9J7tLniV7IbqNYo+Dt57wb1vUMurjNdOd423P0PhwdttlJ2+BLzGagq8EXi9j5NkkWDjcdld45390mzXcImG953mx/u0uPgeDG9Q50ABeJkkmAAcLUNjNxxvcBSBF5V3zTfSLguvd/WUCcBFd9PyevDu+sXZwJsSbwBfdsc7HAf574ZXqrzGgzWj3pAFhuU7LQEv2oZovXy8vbgOspMEE0AQ3msrXmIv627faSTekuweES9Xbxjeoa/YAe9SrwVv2LLu9p0Cb5l4mYsO3FMUtPhzHbz8ppeMeEVw23cKvMfB66m8s2vNXGbYF7cE4L024D3DvQXeQ+LlPqt3sVNceBd3BqXHOy+265WHcXVMeMcR8BaKl1d5Qy5s4H69oBbekez6cUc0NA2Z8O5963C1eJn3dplCG++qibCTYAHwHa/N+ob1VQ40npYA3sLxcp4Zb36qccF4vXILxqv7wJEj431J/JfNMPCuH9egj3f+V8Hsp366Hrzd1vLgVbULvLF6N0+T1sW7bA1mjDl27XgbvbRKFRXAmxpvytLreCRvvN4Z3jVHFlrgPQze+NIb3jb4L0aX4Q0LB96hBcmBV9nuofFGV17OAduWYBV4r4E3DV5JqBbeqMqrjFekl6x2r2mTKiqAd4X38fgw8q0Zr6z0WvFO6xYZ8CovlB0Gb+t3Oi+xA97oIzbuUplErxnv+YN5JideVF5n9Z1+RaKVsrgjNlW8or5h0VFNdp95JjPeA682CPGuIJNgpYxzzBaHl5wXc6kdsD0zi1Fx95tNqqjAUlk6vI1fUen1843CS0y8inZXkW61gRHAu5/eVdy03wE0xmbPcPCy9jb3RFoE3u3blgUqbxq8j4v6hjPeV6zibGr+u/WOYXUNnnrWbkhI14GXsq42AG+QXhHeK9rwfYUQr/eptydpx+AuvLRMJQjgLRyvofja7TLwMh4cqmHXhZfmqSQBvKnxivW6am/4NZH+m8ZuxR2DDy9WGy4Gr0tv+MXoPrxnWU+mxTvrHHAnRfF4EzYOAU8q43UNjV0NvE67nd5mrSQebhOReBdX2OePovGm1TvfJ2K8jdxzhH78JryWmLW9zW8Fck8CvM8GBL2rLHzffVk43r26Xk7H6+BCPd3wMOill22CHnvssYVew9d9h0Vs2xBiF3iTFd4ZXs516FYsTRW8fz8a77b4WvA+RrO+Qaw3Fi8q7356nUu9NO4RY3DwtnCbiMXb8A3FG/YAf1W8YXovHa/2WbbtIduZwVOm2GA27sv796V4N52DDW/XODT/av8R2RU84hR4d8LrtNueL7bRPeO9P4+mM9j6nV6THi/Rufa2B26O/5iAtyS8orbBfX74jNfi1oC3E7oiM3tJcrzU4G3y9+8BlbcCvNF6yUc3HO+ot69993XwErPydtkz3oAJvLvgZciNw3t/rVaOd73isMXbFt1hfQGVtya8MXo5dCPw2kOC90k73ulocfhKFwLeivDGlF6e3XLwPjfnS0u2tIA6M5wFL5bK0uOtqvISPffcxJeoo+vTJ7KL08Pl4mXW3lLwPtdGx5f6ojsUOhtiHLC58ZpOO40/X74GeIWFd+I78+o6PwK83bcy28L6+tlA/2bkeJMdsRWBd6Tb8n3QtbiLT9CsLw/eotoGs+iYQbZtZSm9vKa3DLxzvSPYvv1tMReEt6yryirAe/DVho3dcdWBHtjKLvACbwl454V3UXOtDQPw7oU3T89bE96F3eYJ6u5eNyveMLvV41XpeYOCeWpYFS9F30kxr7wTWsYZCOBNj1dj/YzoCX4Qt+yqVt54vFPtpen6BY4+gdwT8O6G9/EQvE+w626BeANO+QJvJXgD9VaG98l548DXFw+3HQ68u+EN0Mu3WwzemV6+vni47fDI1YaLOkmhdM64cLx0LbwkMthutjNsJZ0eTo13f73AyxoeibeoaxuANz/e2ZU5Afri0I7Dt3h5EVJ668erFuXiJRHe+fFaKCVxBFfekMahfrzrB8LEBj3B9MvXq4b3WoB3cYotoHRGFdxpeDTegMYBeCe9vOqbYZ03Em//N8oMb4i+CLHz4fF4+XqBd8G3yMrbfFwReImef355MS/wHhcvt+1l69XCS3Gt/fOLS3nDCi/w1oaXZ5evVwfv+pYTetQGUfMPtawfmWKNN+x+YOC1gdNQO2xrf7tsvUp41zMe8NLA2oD3DHqFN/BeduC1gROCXWxLDS+7bWAftGng3d7qR53c9pfdH25Lb/vIsRXeQH2BWtfDgZezLT286nrFeGlTdq9bvE230P265bvG2xbltvJGXZPT6QvUuh4OvJxtKeJV7hysTzfl4iXjJ0WPZt/Ufn7P12u9NOCd6w19AA7w2sDFSjVtKxNehl6nXT9eMj8c4Hr24+5BDNftrZQzuqf2d2e8k97ghzdlxMvWC7wLvPyzxDvg9X96/UNw2hvTFngfDXjbRzQE9wwn4LWDixlk25Ym3gch62U+vZ6uoQ1n4WVPfoH30aLythZiHpoHvLbPPGaQe/9lwCurvP1qgVWutfBa5j6t9i7bhsZCeNMAvPYPPWYQYwfuiveslzzV16V3WKK1Hqp5Ky+tHnk+nK2Y432++0rAGH0RY+bDJXj30nvJeMnTPDj7hmGJ1tYyeD8j09cD9mfd5nhjH7ObF+8+ei8Yr797cOCl8fyC8SH+jI/QhHcsvCPeaL1Z8e6k99LxOvsG6xewPbX4BBq91BVcYuKldc9gxft8lXj36RyAN7jw0uYDGK6vGbuImJ5hXHFol8ceSUtvLXifpXi+wBvc8lpmPzyV2LNK1p8Pttvt8M6a3jrxBtwOFK33wvHGdLzu2ZOn8FJzPthhl2hVeSP7hux4dzhNfNl4nWsNzlUGx4Tci2TtQ3WNeMdLfGl+0WS1lXeH2nvheKM6XsmHY59ufzlOv1Q2O2cRqS9u2DhcAW/yWzGBN6jh9Z96iMb7oKvJzTVn3XdOHABvq5dFOOqw7Wh4tVrejd1WM+t6BcFspz6B5i1wlL64YeNwtcrbTChR8b1svHa9a7zU4WXMx93w+t7+Wm+dZ9j6aNUSt/kN13vheG16N11Ds5DLwuv8cDiTHQ7RDoGX2srLoRvTOlw63ifMF+e0dmmsuk8Nd6/LPh3jKsMSbvuvYc/HrzWUgffUz4KJN7j4Xjxes95BDrV9LlPtMCPri/1zpYkvub+qyqsvdmA/XAlvX37T6AXeJ8jQO3QnfK+nOyQVPh5v3e30Pphq71HwptILvK1fE97oudruXeNNYPxWS0HPcCoLb8hDe0P0Aq9Jb1il3c7J+EPmTKcDNutXs7L0CcaeVPEGHLIF6gVeI17hnIz4Q/E+OAreZHqB14RXqtfUOTC7hgfD8ZrMbrYno28jnV7g3erlrom5ZrXaguViHMP7776f9bzLH2R4Dvo25JU39PutAvQC7xqvXO74IJzhd+2iF3cC/RqDrOMtqG2IwMvVC7ydXVLrGPo5TU/S4xbd9u33J4jjntWw0CccnhUvU2/crlLUWxDe7nSFQsfQzal/jFPIBKezagfCm04v8E562yopX2qYUQx/+12LEfmshoU+4XBNvKn0Au+od7yXXTQd6XxGvTJ8JeFNppfUImgXz/e2bkjxykJsd+h5xVES3sBTxGy99MqYoJeu4vyDSGxXuhGNt/GrgFdqd35Jr0yfcLgq3lNU9fXqVcIbGNpkVfDKSy/JC++DoXE4UtvQRoIVM+DVxKtAdyQstHIEvD69wKuFV6fsHhVv1DGbTy/wjnRpKdETPrkkxHygdd4m4ux69ALvQHeJl1NoPbpdf9jxnEPfhlCfcHgheJ16o/BK7TJWJqLxBseEdx6iDqLn7Xmb05s1v0CoTzi8FLyu2zIz4b3riXi8LwqMAa+C1gC8/nkcDK9Ar734Am8iu7F/ewyjpHqLw5tA79HwButNhjf2/Q90D4Y3hd5Lx9v1vOXY7fAqHLEVh1dRb/fxZFpsKAdvvzihi1d2xDk76BTpk0lLgFdPb6v2/PlcNt7BruZVciQ9UrsaH5kj0ieDlgKv5KBtoTdO7eHwKq6M9XQFRbd7/6f+PgqS6S0Sbwl6S8Ybvt7QGFazK4Lbvv35ErBEn8xZErxqeoFX366sYVgZvpLpLRKvqHGY6QVebbvShsGAV6JPpiwVXh29wKuMV/W6+q5zEOmTKUuEV6n2Aq8iXtLsGIZ5HG2dtw8NvcCrZrf9K14H7HDJzvFOD49BCkdtwNvT1bCrFdNlZse7DWgKhdor0Au8c7tqdK/mV3RKhRwVb6cXeDu94sKrR/fqql8fU7j3vWS8cr3Aq4DXeEJNeIpN4aENp6LxKugF3g6v7AE5Bnub4L/1C8ErbByejb0m52h4pbcMb+W+YBUBeocTwxo+ynm4tCGEeJ/FakNnVzXWcHu+/Pc+RBIyMVFk5QXeDu9bG4Pe3hr0clvY7Mbolfsou23IqPcweCkcr1WvlW4I3l6wgo+y8QrtAm/TM5jtquNlHL5Rd0GD8FqyKY6NV6D3MHgtdmPw2puGjWTz2ybFnuF0eLzxeoFXotfcRUy3/+hE2Xgzlt4d8O5xH5DVbhReoV61kttH0XiH77Q/Jt5ebwzhbHhfbl8s8+tVpls83i6JhHCs3h3w3nUf3ijgtR+uxeJ1H7U58WrTrQRv+++d9e6B96z3LsX0vmy8VrpuvE697KO21XtOBSN++H54Y4/fin1uwyg4FV5X3RXgjdQLvAervFPz0PS+ASepmHhj7ergXehNYLcqvDF3V0Rfm7Mf3gHwFb//zYs3Rq9+w3uqDG/46kP8dWX74m0B32Uvn7HwOu3K8IbrTWG3NrxthOCNtZsBb1+CxxsdV5Bp9qPkeLVK7wvGueizqBMvX2/R1zZY8DYrEGMXMe77Lu72P+HhddmV4Q2pvYqng70wAodnwstsHerD26yedUto0yIw0WxbbLzuwivEy9Wbiq0FRuDwPHi5ja/gVopceBeI+6WI1R8QB697nUyMl9c5JKVbKd42OHorrLxbxQbXBeDl6E1Lt2q8jOJbceV1g25D0jUo4PXqTVx3a8bLqb1HqLx2wXnx+mtvartV4/Ve7lD2PWyp8YraBgW9ye3WjdejV3Ln+wHwiuyK8aZdZ/DB4A3Pi9et96Lxys5RMPE672nThxAAgzU8M1533wu8afG69epDCIHBGZ4br1PvJePdo21wNQ6ovH0S1x+m6htqxys7O8zFa629e9g9Nt4KL8wJwesOp101vGa9u9A9AN5UXW8FeF/oCg9fL15J6d3Jbv14L7jyOvG+UNg28EvvRu5edg+A16H34D2vB+8+ldeEV59ABAzG8Ox4TXqnxg94Y+3y+4ZMPcPpQHjnxyrDn8TTBd64pnfHnuF0BLwn66X6wCvDG6yXmjMTCQDYougnowvj6KeHE+Nld71t50Bt2c29y6MiZ+V1xFGv5+XgdS43pMEr3FvBcYC2wRnRB23143XpTYB3aN2Ad5lENjzOb/14XX0DD2/Iatl41AG8yyTiLUT4rR6v8xSb5gFbv1oGvOYkGhsJ5XsAvMKel2335YvlHuBdJtHZTNhJi/rxOuwq4235Ku8tTlwQ3ib4fO14PVdzjZEcr1Ov9OxwKN4Ue8sXF4aXz9eBN7VKbrj0Sq9Fj7YLvKskupvj8SVHoc2tdohy8KbbW664QLy8xYcJr2l8brZd2PFKb3wPw0vAa0+iv0m/Xxfe8/Dcbtuw4vXdR6G92pB6b1niUvGefO0D8PKXeYHXkUR/k124+LrxlqHXesTmswu87fCq8bq6Bx/eMvSWgHd1OSrwLpPob3IW3vVa67DcdO/a9Hq7Bt2L0YHXlUR/kxqpCtBr6Rt2xhv/EQoDeONT5cdr0eu1q4h38zdTqXvLMPyS8RZRe4E3fvhF4y2g+KbEG6e34L21Hg68JeI1hRmv81AVlVceJX8cufV67wUyV+MJ77U9gFchiv448up1XxZp7yRoLLwSvM0LNiuJRe+t5fCLx5v3qC2y8LZ4iXyV1/c1mNdNa4HK606iv0nVVBn5ivE6a6+nAabuJRofYVwAr0KqbHrZdg14G5Bd10vO5sEuuRsFvO4k+ptUTlUB3s0BG516uy3LgSdD8fBS4GUl0d+kcqry8U56219MeLvKOwVTb3M4B7ycJPqb1E6VSS8LL3VLEtS6XVxwRNNCbzuJMLz9a3GSwp1Ef5PaqQrG2yod8PbQqPvn3PSuDrgakVzAw8uA15lEf5PqqfLo5SzztlDbU2wrZZbrPUOqL/D6k+hvUj1VsXhbn7dDn8B58nNQ8wC8viT6m1RPlQkvt22YNbqMuSz1+lrhI+G9zCgXb3fERnTbNr68ySztbn60wpv0g90hUHnLtTsAbvFyp0OTXVr9xFN6a9hb/XDg7cJ6ko30T78NGzR2vLY2uLMbirftOZY/At6wJPqb1E9lITp2nHe1EE//NdB44e68vs5/vwHMno3hugXgjUqiv0n9VEaa0yFSB1iFLq233Wx90nn+x3ZbZsBsDId31tKL5za4kuhvMkEqA83N3tfA2ydaL9rOgFruygz6hjTzc4I4pbeOvdUOB94xtjTXAjTw2r53br4WZmwcFL7cD3gjkuhvMkmqdWXdCNPoHOjEKKFrvd1imWRu/WaBNziJ/ibTpFrZNJ17VcHLeiu0whvYN1i26tdbzd4C3mUs9Rq/UlaOl/teOrZ9J9zxlc2u3SrwBibR32SyVLPOwFzohJ0D3x+Ni2fDYRz39LB7fsAblkR/kwlTefDKam+Avr7WztpdldbBfJ0DvpPCmkR/kylT9cXXpkRSegPpUV9y+2mplF5z8QVeaxL9TaZN1Z1Qs/6pAG/kG+qnRebl29Aw4cVXWdmS6G8ycSp3iYvWG01vqLzJ8F4Dry2J/iazporEK/grX3lazr6hnr0FvBER1/VKimZ6vJPeevYW8MYEG2/TO7dXQAqPtHaovMBrSaK/ybyp+JU36PYde6DyGocDb0wElF7yHP2xAniNw4E3JphdL/V4xfmA1zgceKOChVenZWgCeI3DgTcq+HhVlmZ1p+W+vqGevQW8ccHqG1SKbhvKeE12gdeSRH+T2VP58eo0DF0Ar3E48EaGr/Zq2t0F76C3nr0FvNHhxqsHtwngNQ4H3thwl96C8doeggq8xiT6mywg1Z6lVxev7cl7pJ/LHcCbK9XJ/nA+pdXdWSrNjQFvUBL9TRaQqnlorl2vcirVrTWLz/aut569BbySXPbGQVkv8BqHA68kl+PZktqpVMP16Jx69hbwCnPZHi6ZIJVe2B+5p5/LFfp4ESFheMBZe/F57vflDDve3O8sKlB5I3OZni3Z/C9BKr04buXVeV+LJPqbLCCVHa/yOtlpv5630VvP3gJeYS7DIRvwcgN4c6UaHqaww/Ga/rQcfUM9ewt4pblMeIuvvHa8VNHeAl5hLuNKbwV47Xrr2VvAK81lxJsmlWZYvxYTeFdJ9DdZQKoBr2m9IU0q1bB9pSvwrpLob7KAVEMu4I0O4M2VyoG3/NWGJoCXlUR/kwWkGnPtUHqB1zgceMW5TOcpEqVSDeBlJdHfZAGpplyV4jXrBd5VEv1NFpBqhnejtw685sc+1bO3gFchl+FLtcu+qmwM04N669lbwKuUC3gjAnhzpVrlWlbfwm8DGgJ4/Un0N1lAqm2uhd60qZRiixfXNqyT6G+ygFSGXMMDedVL7454K9pbwKufC3i5Aby5Ujlyqd9LkWxamyscgHedRH+TBaQ6yLSWenEx+iaJ/iYLSHWYaRHwupLob7KAVIeZ1gJvTdMC3ipypU1F88Jb0bSAt4pcifHSrPBWNC3grSJX4lTA60iiv8kCUh1oWmPpBd5tEv1NFpDqQNMa7iQm4N0m0d9kAakONK0Ob39mpZ5pAW8VuZL3vLMvSa5nWsBbRa7UqeZns+uZlgEvAlFXoPIWnQvTMg4H3hpyYVrG4cBbQy5MyzgceGvIhWkZhwNvDbkwLeNw4K0hF6ZlHA68NeTCtIzDgbeGXJiWcTjw1pAL0zIOB94acmFaxuHAW0MuTMs4HHhryIVpGYcDbw25MC3jcOCtIRemZRy+xYtA1BXAi6g2gBdRbQAvotoAXkS1AbyIagN4EdUG8CKqDeBFVBvAi6g2gBdRbQAvotoAXkS1AbyIagN4EdUG8CKqDeBFVBvAi6g2gBdRbQAvotoAXkS1AbyIagN4EdUG8CKqDeBFVBvAi6g2gDcgXqOP13yt136d132913+DN3rjN3nTN3vzt3jLt3qbt327F73DO67uLnIAAAKwSURBVL7T9Tu/y0ve7aXv/h6Pvee997q9/97v877v9+D9H33AB37QB7/yQz70wz78Iz7yoz/qYz724z7+Ez7xkz/pUz710z7j0z/zs171qs9+9as/53M/79kv+Pwv+sIv/pLbL/vSL/+Kr/rKr/6ar/36r/uGb/zmb/qWb/vWb/+O7/rO7/7e7/m+7//BH/jhH/qRH/vRH//Jn/jpn/qZn/vZn//FX/jlX/qVX/vV37j9rd/87d/9nd//vT/8gz/+oz/9kz//s7/8i7/+q7/9m7//u3/6x3/453/713/5j3//r//8n//+v/9tI/fnpx3AGxDAW1YAb0CE4H08Au9zEXh/HXgRnADesgJ4AwJ4ywrgDQjgLSuANyCAt6wA3oAA3rICeAMCS2VlxYXhJf+MHS8B3rLi8vAqvARRRlzYrgLeI8UhdxXdEjV/+1M7O5r+f+gJ+h/R8JJx4OYl4/8jyotD7phOZsezm+Eocvmj/iXjOMNLbm8P+iEdIA65X2j+L+P/3xplzl5C8x8hyoxD7pwlXur+5l8iXvxoPW4s3Af9fI4Sh9w528q7+v2qo1iP692umgpEaXHInePDa2tobZ0Fosw45M6x9ryzozFb2yA7YJuWJmZLHHuMOeiedMchp7zAa1kqM8qULpVNjcasMfEMVxkz9ugXFRc45YSxdMfrOoxj2HiH3wEvQhgGiF5UOnjpEvfkBU55E0TDcpp4S7ezT3TRWfPGjAscoWOAFyGNLd7b8CoaOeYC9+QFTjlhLCri+geMMfF4L/ISjMubccqYoaL1D/xjRKsNl7gnL3DKKWO4Wm0shew129mLY8Zc5J68wCkjjhLAi6g2gBdRbQAvotoAXkS1AbyIagN4EdUG8CKqDeBFVBvAi6g2gBdRbQAvotoAXkS1AbyIauP/AebmRmdNsVePAAAAAElFTkSuQmCC"/>
          <p:cNvSpPr>
            <a:spLocks noChangeAspect="1" noChangeArrowheads="1"/>
          </p:cNvSpPr>
          <p:nvPr/>
        </p:nvSpPr>
        <p:spPr bwMode="auto">
          <a:xfrm>
            <a:off x="4572000" y="25717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3005828756"/>
              </p:ext>
            </p:extLst>
          </p:nvPr>
        </p:nvGraphicFramePr>
        <p:xfrm>
          <a:off x="3155796" y="2084943"/>
          <a:ext cx="3477414" cy="23891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6" name="Arrow: Down 15"/>
          <p:cNvSpPr/>
          <p:nvPr/>
        </p:nvSpPr>
        <p:spPr>
          <a:xfrm>
            <a:off x="4905249" y="1379560"/>
            <a:ext cx="300918" cy="28341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5822923" y="1373975"/>
            <a:ext cx="1353411" cy="44152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/>
              <a:t>Marketing Communication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115169" y="4031449"/>
            <a:ext cx="966115" cy="44267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Measurement Metric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013869" y="2092780"/>
            <a:ext cx="2090531" cy="1959126"/>
            <a:chOff x="1013869" y="2092780"/>
            <a:chExt cx="2090531" cy="1959126"/>
          </a:xfrm>
        </p:grpSpPr>
        <p:sp>
          <p:nvSpPr>
            <p:cNvPr id="25" name="Freeform: Shape 24"/>
            <p:cNvSpPr/>
            <p:nvPr/>
          </p:nvSpPr>
          <p:spPr>
            <a:xfrm>
              <a:off x="1562986" y="2419350"/>
              <a:ext cx="902308" cy="929906"/>
            </a:xfrm>
            <a:custGeom>
              <a:avLst/>
              <a:gdLst>
                <a:gd name="connsiteX0" fmla="*/ 0 w 671956"/>
                <a:gd name="connsiteY0" fmla="*/ 335978 h 671956"/>
                <a:gd name="connsiteX1" fmla="*/ 335978 w 671956"/>
                <a:gd name="connsiteY1" fmla="*/ 0 h 671956"/>
                <a:gd name="connsiteX2" fmla="*/ 671956 w 671956"/>
                <a:gd name="connsiteY2" fmla="*/ 335978 h 671956"/>
                <a:gd name="connsiteX3" fmla="*/ 335978 w 671956"/>
                <a:gd name="connsiteY3" fmla="*/ 671956 h 671956"/>
                <a:gd name="connsiteX4" fmla="*/ 0 w 671956"/>
                <a:gd name="connsiteY4" fmla="*/ 335978 h 671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1956" h="671956">
                  <a:moveTo>
                    <a:pt x="0" y="335978"/>
                  </a:moveTo>
                  <a:cubicBezTo>
                    <a:pt x="0" y="150422"/>
                    <a:pt x="150422" y="0"/>
                    <a:pt x="335978" y="0"/>
                  </a:cubicBezTo>
                  <a:cubicBezTo>
                    <a:pt x="521534" y="0"/>
                    <a:pt x="671956" y="150422"/>
                    <a:pt x="671956" y="335978"/>
                  </a:cubicBezTo>
                  <a:cubicBezTo>
                    <a:pt x="671956" y="521534"/>
                    <a:pt x="521534" y="671956"/>
                    <a:pt x="335978" y="671956"/>
                  </a:cubicBezTo>
                  <a:cubicBezTo>
                    <a:pt x="150422" y="671956"/>
                    <a:pt x="0" y="521534"/>
                    <a:pt x="0" y="335978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566" tIns="108566" rIns="108566" bIns="108566" numCol="1" spcCol="1270" anchor="ctr" anchorCtr="0">
              <a:noAutofit/>
            </a:bodyPr>
            <a:lstStyle/>
            <a:p>
              <a:pPr marL="0" lvl="0" indent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800" kern="1200" dirty="0"/>
                <a:t>NO Campaign</a:t>
              </a:r>
            </a:p>
          </p:txBody>
        </p:sp>
        <p:sp>
          <p:nvSpPr>
            <p:cNvPr id="28" name="Shape 27"/>
            <p:cNvSpPr/>
            <p:nvPr/>
          </p:nvSpPr>
          <p:spPr>
            <a:xfrm>
              <a:off x="1013869" y="2092780"/>
              <a:ext cx="2090531" cy="1672425"/>
            </a:xfrm>
            <a:prstGeom prst="funnel">
              <a:avLst/>
            </a:pr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4" name="Oval 3"/>
            <p:cNvSpPr/>
            <p:nvPr/>
          </p:nvSpPr>
          <p:spPr>
            <a:xfrm>
              <a:off x="1093010" y="2174908"/>
              <a:ext cx="1926275" cy="668970"/>
            </a:xfrm>
            <a:prstGeom prst="ellipse">
              <a:avLst/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Arrow: Down 7"/>
            <p:cNvSpPr/>
            <p:nvPr/>
          </p:nvSpPr>
          <p:spPr>
            <a:xfrm>
              <a:off x="1872480" y="3812989"/>
              <a:ext cx="373309" cy="238917"/>
            </a:xfrm>
            <a:prstGeom prst="downArrow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24" name="Arrow: Down 23"/>
          <p:cNvSpPr/>
          <p:nvPr/>
        </p:nvSpPr>
        <p:spPr>
          <a:xfrm>
            <a:off x="1878496" y="1372465"/>
            <a:ext cx="300918" cy="28341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1940549" y="1244007"/>
            <a:ext cx="3200187" cy="1284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600481" y="1618324"/>
            <a:ext cx="889359" cy="483600"/>
          </a:xfrm>
          <a:prstGeom prst="rect">
            <a:avLst/>
          </a:prstGeom>
        </p:spPr>
      </p:pic>
      <p:sp>
        <p:nvSpPr>
          <p:cNvPr id="30" name="Rectangle: Rounded Corners 29"/>
          <p:cNvSpPr/>
          <p:nvPr/>
        </p:nvSpPr>
        <p:spPr>
          <a:xfrm>
            <a:off x="2245789" y="686943"/>
            <a:ext cx="2659460" cy="504130"/>
          </a:xfrm>
          <a:prstGeom prst="roundRect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Overall Customer Base</a:t>
            </a: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840078" y="1657990"/>
            <a:ext cx="424005" cy="424005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6171872" y="1887210"/>
            <a:ext cx="966115" cy="27241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Test Group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72036" y="1635564"/>
            <a:ext cx="1022787" cy="44267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Universal Control Group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272670" y="2419350"/>
            <a:ext cx="1711842" cy="88534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b="1" dirty="0"/>
              <a:t>Benefi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/>
              <a:t>Universal Control , so minimal skewed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/>
              <a:t>Able to calculate true efficacy of the campaign</a:t>
            </a:r>
          </a:p>
        </p:txBody>
      </p:sp>
    </p:spTree>
    <p:extLst>
      <p:ext uri="{BB962C8B-B14F-4D97-AF65-F5344CB8AC3E}">
        <p14:creationId xmlns:p14="http://schemas.microsoft.com/office/powerpoint/2010/main" val="15463726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87676" y="169863"/>
            <a:ext cx="8845687" cy="464147"/>
          </a:xfrm>
          <a:prstGeom prst="rect">
            <a:avLst/>
          </a:prstGeom>
        </p:spPr>
        <p:txBody>
          <a:bodyPr lIns="0" tIns="0" rIns="0" bIns="45716"/>
          <a:lstStyle>
            <a:lvl1pPr>
              <a:spcBef>
                <a:spcPct val="0"/>
              </a:spcBef>
              <a:buNone/>
              <a:defRPr sz="2400">
                <a:solidFill>
                  <a:schemeClr val="accent1"/>
                </a:solidFill>
                <a:ea typeface="+mj-ea"/>
                <a:cs typeface="+mj-cs"/>
              </a:defRPr>
            </a:lvl1pPr>
          </a:lstStyle>
          <a:p>
            <a:r>
              <a:rPr lang="en-US" dirty="0"/>
              <a:t>TECHNIQUES TO CREATE GLOBAL CONTROL BA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253" y="1523848"/>
            <a:ext cx="3034533" cy="236768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965944" y="850605"/>
            <a:ext cx="45720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Sample Selection Process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Pick stratified sample from active customer base at the start of the quarter (cadenc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Every month/week use the same process to pick up incremental sample of same proportion from incremental ba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Proportion to be ratified from business as how much of the base they can sacrifice for not having campaig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Repeat the same process after the start of the next quarter (cadenc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/>
              <a:t>MoM</a:t>
            </a:r>
            <a:r>
              <a:rPr lang="en-US" sz="1000" dirty="0"/>
              <a:t>/</a:t>
            </a:r>
            <a:r>
              <a:rPr lang="en-US" sz="1000" dirty="0" err="1"/>
              <a:t>WoW</a:t>
            </a:r>
            <a:r>
              <a:rPr lang="en-US" sz="1000" dirty="0"/>
              <a:t> incremental sampling will ensure the seasonal character of customer acquisition is taken care of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001386" y="2417136"/>
            <a:ext cx="4338084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Variable to be used for stratificatio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Bran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Age (Young / Middle Aged / Senior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Vintage of Customers (1 year/ 2 year/ 3+ year </a:t>
            </a:r>
            <a:r>
              <a:rPr lang="en-US" sz="1000" dirty="0" err="1"/>
              <a:t>etc</a:t>
            </a:r>
            <a:r>
              <a:rPr lang="en-US" sz="1000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Channel Use (Online/ Retail/ Multichannel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Platform Usage for browse (Mobile/ Computer 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Annual purchase buckets (High/Medium/Low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Channel Preference and completeness for conta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Loyalty card typ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/>
          </a:p>
          <a:p>
            <a:r>
              <a:rPr lang="en-US" sz="1000" dirty="0"/>
              <a:t>Many other attributes can also be added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87676" y="850605"/>
            <a:ext cx="29020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Stratified Sampling </a:t>
            </a:r>
          </a:p>
          <a:p>
            <a:r>
              <a:rPr lang="en-US" sz="1000" dirty="0"/>
              <a:t>Maintain population characteristics to the sample selected </a:t>
            </a:r>
          </a:p>
        </p:txBody>
      </p:sp>
    </p:spTree>
    <p:extLst>
      <p:ext uri="{BB962C8B-B14F-4D97-AF65-F5344CB8AC3E}">
        <p14:creationId xmlns:p14="http://schemas.microsoft.com/office/powerpoint/2010/main" val="2353091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87676" y="169863"/>
            <a:ext cx="8845687" cy="464147"/>
          </a:xfrm>
          <a:prstGeom prst="rect">
            <a:avLst/>
          </a:prstGeom>
        </p:spPr>
        <p:txBody>
          <a:bodyPr lIns="0" tIns="0" rIns="0" bIns="45716"/>
          <a:lstStyle>
            <a:lvl1pPr>
              <a:spcBef>
                <a:spcPct val="0"/>
              </a:spcBef>
              <a:buNone/>
              <a:defRPr sz="2400">
                <a:solidFill>
                  <a:schemeClr val="accent1"/>
                </a:solidFill>
                <a:ea typeface="+mj-ea"/>
                <a:cs typeface="+mj-cs"/>
              </a:defRPr>
            </a:lvl1pPr>
          </a:lstStyle>
          <a:p>
            <a:r>
              <a:rPr lang="en-US" dirty="0"/>
              <a:t>CAMPAIGN PROCESS TO FACTOR GLOBAL CONTROL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437488" y="733649"/>
            <a:ext cx="4547624" cy="2169041"/>
            <a:chOff x="437488" y="733649"/>
            <a:chExt cx="4547624" cy="2169041"/>
          </a:xfrm>
        </p:grpSpPr>
        <p:sp>
          <p:nvSpPr>
            <p:cNvPr id="4" name="Arrow: Right 3"/>
            <p:cNvSpPr/>
            <p:nvPr/>
          </p:nvSpPr>
          <p:spPr>
            <a:xfrm>
              <a:off x="777238" y="733649"/>
              <a:ext cx="3868124" cy="2169041"/>
            </a:xfrm>
            <a:prstGeom prst="rightArrow">
              <a:avLst/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Freeform: Shape 8"/>
            <p:cNvSpPr/>
            <p:nvPr/>
          </p:nvSpPr>
          <p:spPr>
            <a:xfrm>
              <a:off x="437488" y="1384361"/>
              <a:ext cx="1010583" cy="867616"/>
            </a:xfrm>
            <a:custGeom>
              <a:avLst/>
              <a:gdLst>
                <a:gd name="connsiteX0" fmla="*/ 0 w 1010583"/>
                <a:gd name="connsiteY0" fmla="*/ 144606 h 867616"/>
                <a:gd name="connsiteX1" fmla="*/ 144606 w 1010583"/>
                <a:gd name="connsiteY1" fmla="*/ 0 h 867616"/>
                <a:gd name="connsiteX2" fmla="*/ 865977 w 1010583"/>
                <a:gd name="connsiteY2" fmla="*/ 0 h 867616"/>
                <a:gd name="connsiteX3" fmla="*/ 1010583 w 1010583"/>
                <a:gd name="connsiteY3" fmla="*/ 144606 h 867616"/>
                <a:gd name="connsiteX4" fmla="*/ 1010583 w 1010583"/>
                <a:gd name="connsiteY4" fmla="*/ 723010 h 867616"/>
                <a:gd name="connsiteX5" fmla="*/ 865977 w 1010583"/>
                <a:gd name="connsiteY5" fmla="*/ 867616 h 867616"/>
                <a:gd name="connsiteX6" fmla="*/ 144606 w 1010583"/>
                <a:gd name="connsiteY6" fmla="*/ 867616 h 867616"/>
                <a:gd name="connsiteX7" fmla="*/ 0 w 1010583"/>
                <a:gd name="connsiteY7" fmla="*/ 723010 h 867616"/>
                <a:gd name="connsiteX8" fmla="*/ 0 w 1010583"/>
                <a:gd name="connsiteY8" fmla="*/ 144606 h 86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0583" h="867616">
                  <a:moveTo>
                    <a:pt x="0" y="144606"/>
                  </a:moveTo>
                  <a:cubicBezTo>
                    <a:pt x="0" y="64742"/>
                    <a:pt x="64742" y="0"/>
                    <a:pt x="144606" y="0"/>
                  </a:cubicBezTo>
                  <a:lnTo>
                    <a:pt x="865977" y="0"/>
                  </a:lnTo>
                  <a:cubicBezTo>
                    <a:pt x="945841" y="0"/>
                    <a:pt x="1010583" y="64742"/>
                    <a:pt x="1010583" y="144606"/>
                  </a:cubicBezTo>
                  <a:lnTo>
                    <a:pt x="1010583" y="723010"/>
                  </a:lnTo>
                  <a:cubicBezTo>
                    <a:pt x="1010583" y="802874"/>
                    <a:pt x="945841" y="867616"/>
                    <a:pt x="865977" y="867616"/>
                  </a:cubicBezTo>
                  <a:lnTo>
                    <a:pt x="144606" y="867616"/>
                  </a:lnTo>
                  <a:cubicBezTo>
                    <a:pt x="64742" y="867616"/>
                    <a:pt x="0" y="802874"/>
                    <a:pt x="0" y="723010"/>
                  </a:cubicBezTo>
                  <a:lnTo>
                    <a:pt x="0" y="14460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8074" tIns="88074" rIns="88074" bIns="88074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 dirty="0"/>
                <a:t>Overall Target Base</a:t>
              </a:r>
            </a:p>
          </p:txBody>
        </p:sp>
        <p:sp>
          <p:nvSpPr>
            <p:cNvPr id="10" name="Freeform: Shape 9"/>
            <p:cNvSpPr/>
            <p:nvPr/>
          </p:nvSpPr>
          <p:spPr>
            <a:xfrm>
              <a:off x="1616502" y="1384361"/>
              <a:ext cx="1010583" cy="867616"/>
            </a:xfrm>
            <a:custGeom>
              <a:avLst/>
              <a:gdLst>
                <a:gd name="connsiteX0" fmla="*/ 0 w 1010583"/>
                <a:gd name="connsiteY0" fmla="*/ 144606 h 867616"/>
                <a:gd name="connsiteX1" fmla="*/ 144606 w 1010583"/>
                <a:gd name="connsiteY1" fmla="*/ 0 h 867616"/>
                <a:gd name="connsiteX2" fmla="*/ 865977 w 1010583"/>
                <a:gd name="connsiteY2" fmla="*/ 0 h 867616"/>
                <a:gd name="connsiteX3" fmla="*/ 1010583 w 1010583"/>
                <a:gd name="connsiteY3" fmla="*/ 144606 h 867616"/>
                <a:gd name="connsiteX4" fmla="*/ 1010583 w 1010583"/>
                <a:gd name="connsiteY4" fmla="*/ 723010 h 867616"/>
                <a:gd name="connsiteX5" fmla="*/ 865977 w 1010583"/>
                <a:gd name="connsiteY5" fmla="*/ 867616 h 867616"/>
                <a:gd name="connsiteX6" fmla="*/ 144606 w 1010583"/>
                <a:gd name="connsiteY6" fmla="*/ 867616 h 867616"/>
                <a:gd name="connsiteX7" fmla="*/ 0 w 1010583"/>
                <a:gd name="connsiteY7" fmla="*/ 723010 h 867616"/>
                <a:gd name="connsiteX8" fmla="*/ 0 w 1010583"/>
                <a:gd name="connsiteY8" fmla="*/ 144606 h 86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0583" h="867616">
                  <a:moveTo>
                    <a:pt x="0" y="144606"/>
                  </a:moveTo>
                  <a:cubicBezTo>
                    <a:pt x="0" y="64742"/>
                    <a:pt x="64742" y="0"/>
                    <a:pt x="144606" y="0"/>
                  </a:cubicBezTo>
                  <a:lnTo>
                    <a:pt x="865977" y="0"/>
                  </a:lnTo>
                  <a:cubicBezTo>
                    <a:pt x="945841" y="0"/>
                    <a:pt x="1010583" y="64742"/>
                    <a:pt x="1010583" y="144606"/>
                  </a:cubicBezTo>
                  <a:lnTo>
                    <a:pt x="1010583" y="723010"/>
                  </a:lnTo>
                  <a:cubicBezTo>
                    <a:pt x="1010583" y="802874"/>
                    <a:pt x="945841" y="867616"/>
                    <a:pt x="865977" y="867616"/>
                  </a:cubicBezTo>
                  <a:lnTo>
                    <a:pt x="144606" y="867616"/>
                  </a:lnTo>
                  <a:cubicBezTo>
                    <a:pt x="64742" y="867616"/>
                    <a:pt x="0" y="802874"/>
                    <a:pt x="0" y="723010"/>
                  </a:cubicBezTo>
                  <a:lnTo>
                    <a:pt x="0" y="14460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8074" tIns="88074" rIns="88074" bIns="88074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 dirty="0"/>
                <a:t>Campaign Filters</a:t>
              </a:r>
            </a:p>
          </p:txBody>
        </p:sp>
        <p:sp>
          <p:nvSpPr>
            <p:cNvPr id="11" name="Freeform: Shape 10"/>
            <p:cNvSpPr/>
            <p:nvPr/>
          </p:nvSpPr>
          <p:spPr>
            <a:xfrm>
              <a:off x="2795515" y="1384361"/>
              <a:ext cx="1010583" cy="867616"/>
            </a:xfrm>
            <a:custGeom>
              <a:avLst/>
              <a:gdLst>
                <a:gd name="connsiteX0" fmla="*/ 0 w 1010583"/>
                <a:gd name="connsiteY0" fmla="*/ 144606 h 867616"/>
                <a:gd name="connsiteX1" fmla="*/ 144606 w 1010583"/>
                <a:gd name="connsiteY1" fmla="*/ 0 h 867616"/>
                <a:gd name="connsiteX2" fmla="*/ 865977 w 1010583"/>
                <a:gd name="connsiteY2" fmla="*/ 0 h 867616"/>
                <a:gd name="connsiteX3" fmla="*/ 1010583 w 1010583"/>
                <a:gd name="connsiteY3" fmla="*/ 144606 h 867616"/>
                <a:gd name="connsiteX4" fmla="*/ 1010583 w 1010583"/>
                <a:gd name="connsiteY4" fmla="*/ 723010 h 867616"/>
                <a:gd name="connsiteX5" fmla="*/ 865977 w 1010583"/>
                <a:gd name="connsiteY5" fmla="*/ 867616 h 867616"/>
                <a:gd name="connsiteX6" fmla="*/ 144606 w 1010583"/>
                <a:gd name="connsiteY6" fmla="*/ 867616 h 867616"/>
                <a:gd name="connsiteX7" fmla="*/ 0 w 1010583"/>
                <a:gd name="connsiteY7" fmla="*/ 723010 h 867616"/>
                <a:gd name="connsiteX8" fmla="*/ 0 w 1010583"/>
                <a:gd name="connsiteY8" fmla="*/ 144606 h 86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0583" h="867616">
                  <a:moveTo>
                    <a:pt x="0" y="144606"/>
                  </a:moveTo>
                  <a:cubicBezTo>
                    <a:pt x="0" y="64742"/>
                    <a:pt x="64742" y="0"/>
                    <a:pt x="144606" y="0"/>
                  </a:cubicBezTo>
                  <a:lnTo>
                    <a:pt x="865977" y="0"/>
                  </a:lnTo>
                  <a:cubicBezTo>
                    <a:pt x="945841" y="0"/>
                    <a:pt x="1010583" y="64742"/>
                    <a:pt x="1010583" y="144606"/>
                  </a:cubicBezTo>
                  <a:lnTo>
                    <a:pt x="1010583" y="723010"/>
                  </a:lnTo>
                  <a:cubicBezTo>
                    <a:pt x="1010583" y="802874"/>
                    <a:pt x="945841" y="867616"/>
                    <a:pt x="865977" y="867616"/>
                  </a:cubicBezTo>
                  <a:lnTo>
                    <a:pt x="144606" y="867616"/>
                  </a:lnTo>
                  <a:cubicBezTo>
                    <a:pt x="64742" y="867616"/>
                    <a:pt x="0" y="802874"/>
                    <a:pt x="0" y="723010"/>
                  </a:cubicBezTo>
                  <a:lnTo>
                    <a:pt x="0" y="14460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8074" tIns="88074" rIns="88074" bIns="88074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 dirty="0"/>
                <a:t>Customers matching with global control</a:t>
              </a:r>
            </a:p>
          </p:txBody>
        </p:sp>
        <p:sp>
          <p:nvSpPr>
            <p:cNvPr id="12" name="Freeform: Shape 11"/>
            <p:cNvSpPr/>
            <p:nvPr/>
          </p:nvSpPr>
          <p:spPr>
            <a:xfrm>
              <a:off x="3974529" y="1384361"/>
              <a:ext cx="1010583" cy="867616"/>
            </a:xfrm>
            <a:custGeom>
              <a:avLst/>
              <a:gdLst>
                <a:gd name="connsiteX0" fmla="*/ 0 w 1010583"/>
                <a:gd name="connsiteY0" fmla="*/ 144606 h 867616"/>
                <a:gd name="connsiteX1" fmla="*/ 144606 w 1010583"/>
                <a:gd name="connsiteY1" fmla="*/ 0 h 867616"/>
                <a:gd name="connsiteX2" fmla="*/ 865977 w 1010583"/>
                <a:gd name="connsiteY2" fmla="*/ 0 h 867616"/>
                <a:gd name="connsiteX3" fmla="*/ 1010583 w 1010583"/>
                <a:gd name="connsiteY3" fmla="*/ 144606 h 867616"/>
                <a:gd name="connsiteX4" fmla="*/ 1010583 w 1010583"/>
                <a:gd name="connsiteY4" fmla="*/ 723010 h 867616"/>
                <a:gd name="connsiteX5" fmla="*/ 865977 w 1010583"/>
                <a:gd name="connsiteY5" fmla="*/ 867616 h 867616"/>
                <a:gd name="connsiteX6" fmla="*/ 144606 w 1010583"/>
                <a:gd name="connsiteY6" fmla="*/ 867616 h 867616"/>
                <a:gd name="connsiteX7" fmla="*/ 0 w 1010583"/>
                <a:gd name="connsiteY7" fmla="*/ 723010 h 867616"/>
                <a:gd name="connsiteX8" fmla="*/ 0 w 1010583"/>
                <a:gd name="connsiteY8" fmla="*/ 144606 h 86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0583" h="867616">
                  <a:moveTo>
                    <a:pt x="0" y="144606"/>
                  </a:moveTo>
                  <a:cubicBezTo>
                    <a:pt x="0" y="64742"/>
                    <a:pt x="64742" y="0"/>
                    <a:pt x="144606" y="0"/>
                  </a:cubicBezTo>
                  <a:lnTo>
                    <a:pt x="865977" y="0"/>
                  </a:lnTo>
                  <a:cubicBezTo>
                    <a:pt x="945841" y="0"/>
                    <a:pt x="1010583" y="64742"/>
                    <a:pt x="1010583" y="144606"/>
                  </a:cubicBezTo>
                  <a:lnTo>
                    <a:pt x="1010583" y="723010"/>
                  </a:lnTo>
                  <a:cubicBezTo>
                    <a:pt x="1010583" y="802874"/>
                    <a:pt x="945841" y="867616"/>
                    <a:pt x="865977" y="867616"/>
                  </a:cubicBezTo>
                  <a:lnTo>
                    <a:pt x="144606" y="867616"/>
                  </a:lnTo>
                  <a:cubicBezTo>
                    <a:pt x="64742" y="867616"/>
                    <a:pt x="0" y="802874"/>
                    <a:pt x="0" y="723010"/>
                  </a:cubicBezTo>
                  <a:lnTo>
                    <a:pt x="0" y="144606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8074" tIns="88074" rIns="88074" bIns="88074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 dirty="0"/>
                <a:t>Final Campaign Base</a:t>
              </a:r>
            </a:p>
          </p:txBody>
        </p:sp>
      </p:grpSp>
      <p:sp>
        <p:nvSpPr>
          <p:cNvPr id="13" name="Freeform: Shape 12"/>
          <p:cNvSpPr/>
          <p:nvPr/>
        </p:nvSpPr>
        <p:spPr>
          <a:xfrm>
            <a:off x="2777791" y="3131650"/>
            <a:ext cx="1010583" cy="867616"/>
          </a:xfrm>
          <a:custGeom>
            <a:avLst/>
            <a:gdLst>
              <a:gd name="connsiteX0" fmla="*/ 0 w 1010583"/>
              <a:gd name="connsiteY0" fmla="*/ 144606 h 867616"/>
              <a:gd name="connsiteX1" fmla="*/ 144606 w 1010583"/>
              <a:gd name="connsiteY1" fmla="*/ 0 h 867616"/>
              <a:gd name="connsiteX2" fmla="*/ 865977 w 1010583"/>
              <a:gd name="connsiteY2" fmla="*/ 0 h 867616"/>
              <a:gd name="connsiteX3" fmla="*/ 1010583 w 1010583"/>
              <a:gd name="connsiteY3" fmla="*/ 144606 h 867616"/>
              <a:gd name="connsiteX4" fmla="*/ 1010583 w 1010583"/>
              <a:gd name="connsiteY4" fmla="*/ 723010 h 867616"/>
              <a:gd name="connsiteX5" fmla="*/ 865977 w 1010583"/>
              <a:gd name="connsiteY5" fmla="*/ 867616 h 867616"/>
              <a:gd name="connsiteX6" fmla="*/ 144606 w 1010583"/>
              <a:gd name="connsiteY6" fmla="*/ 867616 h 867616"/>
              <a:gd name="connsiteX7" fmla="*/ 0 w 1010583"/>
              <a:gd name="connsiteY7" fmla="*/ 723010 h 867616"/>
              <a:gd name="connsiteX8" fmla="*/ 0 w 1010583"/>
              <a:gd name="connsiteY8" fmla="*/ 144606 h 867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0583" h="867616">
                <a:moveTo>
                  <a:pt x="0" y="144606"/>
                </a:moveTo>
                <a:cubicBezTo>
                  <a:pt x="0" y="64742"/>
                  <a:pt x="64742" y="0"/>
                  <a:pt x="144606" y="0"/>
                </a:cubicBezTo>
                <a:lnTo>
                  <a:pt x="865977" y="0"/>
                </a:lnTo>
                <a:cubicBezTo>
                  <a:pt x="945841" y="0"/>
                  <a:pt x="1010583" y="64742"/>
                  <a:pt x="1010583" y="144606"/>
                </a:cubicBezTo>
                <a:lnTo>
                  <a:pt x="1010583" y="723010"/>
                </a:lnTo>
                <a:cubicBezTo>
                  <a:pt x="1010583" y="802874"/>
                  <a:pt x="945841" y="867616"/>
                  <a:pt x="865977" y="867616"/>
                </a:cubicBezTo>
                <a:lnTo>
                  <a:pt x="144606" y="867616"/>
                </a:lnTo>
                <a:cubicBezTo>
                  <a:pt x="64742" y="867616"/>
                  <a:pt x="0" y="802874"/>
                  <a:pt x="0" y="723010"/>
                </a:cubicBezTo>
                <a:lnTo>
                  <a:pt x="0" y="144606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8074" tIns="88074" rIns="88074" bIns="88074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Globa</a:t>
            </a:r>
            <a:r>
              <a:rPr lang="en-US" sz="1200" dirty="0"/>
              <a:t>l Control Base</a:t>
            </a:r>
            <a:endParaRPr lang="en-US" sz="1200" kern="1200" dirty="0"/>
          </a:p>
        </p:txBody>
      </p:sp>
      <p:sp>
        <p:nvSpPr>
          <p:cNvPr id="14" name="Arrow: Up-Down 13"/>
          <p:cNvSpPr/>
          <p:nvPr/>
        </p:nvSpPr>
        <p:spPr>
          <a:xfrm>
            <a:off x="3126330" y="2273243"/>
            <a:ext cx="353712" cy="842097"/>
          </a:xfrm>
          <a:prstGeom prst="upDown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15" name="Freeform: Shape 14"/>
          <p:cNvSpPr/>
          <p:nvPr/>
        </p:nvSpPr>
        <p:spPr>
          <a:xfrm>
            <a:off x="3956806" y="3110385"/>
            <a:ext cx="1010583" cy="867616"/>
          </a:xfrm>
          <a:custGeom>
            <a:avLst/>
            <a:gdLst>
              <a:gd name="connsiteX0" fmla="*/ 0 w 1010583"/>
              <a:gd name="connsiteY0" fmla="*/ 144606 h 867616"/>
              <a:gd name="connsiteX1" fmla="*/ 144606 w 1010583"/>
              <a:gd name="connsiteY1" fmla="*/ 0 h 867616"/>
              <a:gd name="connsiteX2" fmla="*/ 865977 w 1010583"/>
              <a:gd name="connsiteY2" fmla="*/ 0 h 867616"/>
              <a:gd name="connsiteX3" fmla="*/ 1010583 w 1010583"/>
              <a:gd name="connsiteY3" fmla="*/ 144606 h 867616"/>
              <a:gd name="connsiteX4" fmla="*/ 1010583 w 1010583"/>
              <a:gd name="connsiteY4" fmla="*/ 723010 h 867616"/>
              <a:gd name="connsiteX5" fmla="*/ 865977 w 1010583"/>
              <a:gd name="connsiteY5" fmla="*/ 867616 h 867616"/>
              <a:gd name="connsiteX6" fmla="*/ 144606 w 1010583"/>
              <a:gd name="connsiteY6" fmla="*/ 867616 h 867616"/>
              <a:gd name="connsiteX7" fmla="*/ 0 w 1010583"/>
              <a:gd name="connsiteY7" fmla="*/ 723010 h 867616"/>
              <a:gd name="connsiteX8" fmla="*/ 0 w 1010583"/>
              <a:gd name="connsiteY8" fmla="*/ 144606 h 867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0583" h="867616">
                <a:moveTo>
                  <a:pt x="0" y="144606"/>
                </a:moveTo>
                <a:cubicBezTo>
                  <a:pt x="0" y="64742"/>
                  <a:pt x="64742" y="0"/>
                  <a:pt x="144606" y="0"/>
                </a:cubicBezTo>
                <a:lnTo>
                  <a:pt x="865977" y="0"/>
                </a:lnTo>
                <a:cubicBezTo>
                  <a:pt x="945841" y="0"/>
                  <a:pt x="1010583" y="64742"/>
                  <a:pt x="1010583" y="144606"/>
                </a:cubicBezTo>
                <a:lnTo>
                  <a:pt x="1010583" y="723010"/>
                </a:lnTo>
                <a:cubicBezTo>
                  <a:pt x="1010583" y="802874"/>
                  <a:pt x="945841" y="867616"/>
                  <a:pt x="865977" y="867616"/>
                </a:cubicBezTo>
                <a:lnTo>
                  <a:pt x="144606" y="867616"/>
                </a:lnTo>
                <a:cubicBezTo>
                  <a:pt x="64742" y="867616"/>
                  <a:pt x="0" y="802874"/>
                  <a:pt x="0" y="723010"/>
                </a:cubicBezTo>
                <a:lnTo>
                  <a:pt x="0" y="144606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8074" tIns="88074" rIns="88074" bIns="88074" numCol="1" spcCol="1270" anchor="ctr" anchorCtr="0">
            <a:noAutofit/>
          </a:bodyPr>
          <a:lstStyle/>
          <a:p>
            <a:pPr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dirty="0"/>
              <a:t>Campaign Control Bas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954233" y="1244009"/>
            <a:ext cx="239232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ampaign Measurement Metrics</a:t>
            </a:r>
          </a:p>
          <a:p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Lif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Gai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RO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Incremental Respons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/>
              <a:t>etc</a:t>
            </a:r>
            <a:endParaRPr lang="en-US" sz="1000" dirty="0"/>
          </a:p>
        </p:txBody>
      </p:sp>
      <p:cxnSp>
        <p:nvCxnSpPr>
          <p:cNvPr id="20" name="Straight Arrow Connector 19"/>
          <p:cNvCxnSpPr>
            <a:stCxn id="14" idx="0"/>
          </p:cNvCxnSpPr>
          <p:nvPr/>
        </p:nvCxnSpPr>
        <p:spPr>
          <a:xfrm>
            <a:off x="3303186" y="2273243"/>
            <a:ext cx="1119958" cy="858407"/>
          </a:xfrm>
          <a:prstGeom prst="straightConnector1">
            <a:avLst/>
          </a:prstGeom>
          <a:ln w="5715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67029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400" b="1" dirty="0">
                <a:latin typeface="+mj-lt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4866966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6&quot;&gt;&lt;elem m_fUsage=&quot;4.05535410999999970000E+000&quot;&gt;&lt;m_msothmcolidx val=&quot;0&quot;/&gt;&lt;m_rgb r=&quot;0&quot; g=&quot;8c&quot; b=&quot;c2&quot;/&gt;&lt;m_ppcolschidx tagver0=&quot;23004&quot; tagname0=&quot;m_ppcolschidxUNRECOGNIZED&quot; val=&quot;0&quot;/&gt;&lt;m_nBrightness val=&quot;0&quot;/&gt;&lt;/elem&gt;&lt;elem m_fUsage=&quot;3.22278245412378480000E+000&quot;&gt;&lt;m_msothmcolidx val=&quot;0&quot;/&gt;&lt;m_rgb r=&quot;25&quot; g=&quot;b7&quot; b=&quot;e0&quot;/&gt;&lt;m_ppcolschidx tagver0=&quot;23004&quot; tagname0=&quot;m_ppcolschidxUNRECOGNIZED&quot; val=&quot;0&quot;/&gt;&lt;m_nBrightness val=&quot;0&quot;/&gt;&lt;/elem&gt;&lt;elem m_fUsage=&quot;1.04990952519000010000E+000&quot;&gt;&lt;m_msothmcolidx val=&quot;0&quot;/&gt;&lt;m_rgb r=&quot;fe&quot; g=&quot;85&quot; b=&quot;2c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fa&quot; g=&quot;b0&quot; b=&quot;23&quot;/&gt;&lt;m_ppcolschidx tagver0=&quot;23004&quot; tagname0=&quot;m_ppcolschidxUNRECOGNIZED&quot; val=&quot;0&quot;/&gt;&lt;m_nBrightness val=&quot;0&quot;/&gt;&lt;/elem&gt;&lt;elem m_fUsage=&quot;4.31715544790871210000E-001&quot;&gt;&lt;m_msothmcolidx val=&quot;0&quot;/&gt;&lt;m_rgb r=&quot;bf&quot; g=&quot;bf&quot; b=&quot;bf&quot;/&gt;&lt;m_ppcolschidx tagver0=&quot;23004&quot; tagname0=&quot;m_ppcolschidxUNRECOGNIZED&quot; val=&quot;0&quot;/&gt;&lt;m_nBrightness val=&quot;0&quot;/&gt;&lt;/elem&gt;&lt;elem m_fUsage=&quot;2.82429536481000170000E-001&quot;&gt;&lt;m_msothmcolidx val=&quot;0&quot;/&gt;&lt;m_rgb r=&quot;d5&quot; g=&quot;f0&quot; b=&quot;f9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heme/theme1.xml><?xml version="1.0" encoding="utf-8"?>
<a:theme xmlns:a="http://schemas.openxmlformats.org/drawingml/2006/main" name="2_Office Theme">
  <a:themeElements>
    <a:clrScheme name="Custom 61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8CC2"/>
      </a:accent1>
      <a:accent2>
        <a:srgbClr val="25B7E0"/>
      </a:accent2>
      <a:accent3>
        <a:srgbClr val="5A5D60"/>
      </a:accent3>
      <a:accent4>
        <a:srgbClr val="6F5091"/>
      </a:accent4>
      <a:accent5>
        <a:srgbClr val="FC9A2D"/>
      </a:accent5>
      <a:accent6>
        <a:srgbClr val="F57E4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61">
    <a:dk1>
      <a:srgbClr val="000000"/>
    </a:dk1>
    <a:lt1>
      <a:sysClr val="window" lastClr="FFFFFF"/>
    </a:lt1>
    <a:dk2>
      <a:srgbClr val="000000"/>
    </a:dk2>
    <a:lt2>
      <a:srgbClr val="FFFFFF"/>
    </a:lt2>
    <a:accent1>
      <a:srgbClr val="008CC2"/>
    </a:accent1>
    <a:accent2>
      <a:srgbClr val="25B7E0"/>
    </a:accent2>
    <a:accent3>
      <a:srgbClr val="5A5D60"/>
    </a:accent3>
    <a:accent4>
      <a:srgbClr val="6F5091"/>
    </a:accent4>
    <a:accent5>
      <a:srgbClr val="FC9A2D"/>
    </a:accent5>
    <a:accent6>
      <a:srgbClr val="F57E4D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Custom 61">
    <a:dk1>
      <a:srgbClr val="000000"/>
    </a:dk1>
    <a:lt1>
      <a:sysClr val="window" lastClr="FFFFFF"/>
    </a:lt1>
    <a:dk2>
      <a:srgbClr val="000000"/>
    </a:dk2>
    <a:lt2>
      <a:srgbClr val="FFFFFF"/>
    </a:lt2>
    <a:accent1>
      <a:srgbClr val="008CC2"/>
    </a:accent1>
    <a:accent2>
      <a:srgbClr val="25B7E0"/>
    </a:accent2>
    <a:accent3>
      <a:srgbClr val="5A5D60"/>
    </a:accent3>
    <a:accent4>
      <a:srgbClr val="6F5091"/>
    </a:accent4>
    <a:accent5>
      <a:srgbClr val="FC9A2D"/>
    </a:accent5>
    <a:accent6>
      <a:srgbClr val="F57E4D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Custom 61">
    <a:dk1>
      <a:srgbClr val="000000"/>
    </a:dk1>
    <a:lt1>
      <a:sysClr val="window" lastClr="FFFFFF"/>
    </a:lt1>
    <a:dk2>
      <a:srgbClr val="000000"/>
    </a:dk2>
    <a:lt2>
      <a:srgbClr val="FFFFFF"/>
    </a:lt2>
    <a:accent1>
      <a:srgbClr val="008CC2"/>
    </a:accent1>
    <a:accent2>
      <a:srgbClr val="25B7E0"/>
    </a:accent2>
    <a:accent3>
      <a:srgbClr val="5A5D60"/>
    </a:accent3>
    <a:accent4>
      <a:srgbClr val="6F5091"/>
    </a:accent4>
    <a:accent5>
      <a:srgbClr val="FC9A2D"/>
    </a:accent5>
    <a:accent6>
      <a:srgbClr val="F57E4D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683</TotalTime>
  <Words>433</Words>
  <Application>Microsoft Office PowerPoint</Application>
  <PresentationFormat>On-screen Show (16:9)</PresentationFormat>
  <Paragraphs>85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Arial</vt:lpstr>
      <vt:lpstr>Avenir Black</vt:lpstr>
      <vt:lpstr>Avenir Light</vt:lpstr>
      <vt:lpstr>Avenir LT Std 35 Light</vt:lpstr>
      <vt:lpstr>Avenir LT Std 45 Book</vt:lpstr>
      <vt:lpstr>Avenir LT Std 65 Medium</vt:lpstr>
      <vt:lpstr>Avenir LT Std 95 Black</vt:lpstr>
      <vt:lpstr>AvenirNext LT Pro Regular</vt:lpstr>
      <vt:lpstr>Calibri</vt:lpstr>
      <vt:lpstr>Wingdings</vt:lpstr>
      <vt:lpstr>2_Office Theme</vt:lpstr>
      <vt:lpstr>think-cell Slide</vt:lpstr>
      <vt:lpstr>PowerPoint Presentation</vt:lpstr>
      <vt:lpstr>BACKGROUND</vt:lpstr>
      <vt:lpstr>PRESENT STATE OF CONTROL BASE SELECTION</vt:lpstr>
      <vt:lpstr>SOUTION: CREATE GLOBAL CONTROL BAS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bara</dc:creator>
  <cp:lastModifiedBy>Mithun Ghosh</cp:lastModifiedBy>
  <cp:revision>2161</cp:revision>
  <cp:lastPrinted>2016-10-11T16:44:59Z</cp:lastPrinted>
  <dcterms:created xsi:type="dcterms:W3CDTF">2016-01-16T21:56:10Z</dcterms:created>
  <dcterms:modified xsi:type="dcterms:W3CDTF">2017-05-23T18:1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PageLayout">
    <vt:lpwstr>Message</vt:lpwstr>
  </property>
  <property fmtid="{D5CDD505-2E9C-101B-9397-08002B2CF9AE}" pid="3" name="Title">
    <vt:lpwstr>PowerPoint Presentation</vt:lpwstr>
  </property>
  <property fmtid="{D5CDD505-2E9C-101B-9397-08002B2CF9AE}" pid="4" name="Final">
    <vt:bool>true</vt:bool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docid">
    <vt:lpwstr/>
  </property>
</Properties>
</file>